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96" r:id="rId2"/>
    <p:sldMasterId id="2147485399" r:id="rId3"/>
  </p:sldMasterIdLst>
  <p:notesMasterIdLst>
    <p:notesMasterId r:id="rId21"/>
  </p:notesMasterIdLst>
  <p:handoutMasterIdLst>
    <p:handoutMasterId r:id="rId22"/>
  </p:handoutMasterIdLst>
  <p:sldIdLst>
    <p:sldId id="800" r:id="rId4"/>
    <p:sldId id="798" r:id="rId5"/>
    <p:sldId id="332" r:id="rId6"/>
    <p:sldId id="517" r:id="rId7"/>
    <p:sldId id="518" r:id="rId8"/>
    <p:sldId id="519" r:id="rId9"/>
    <p:sldId id="731" r:id="rId10"/>
    <p:sldId id="791" r:id="rId11"/>
    <p:sldId id="733" r:id="rId12"/>
    <p:sldId id="812" r:id="rId13"/>
    <p:sldId id="761" r:id="rId14"/>
    <p:sldId id="806" r:id="rId15"/>
    <p:sldId id="771" r:id="rId16"/>
    <p:sldId id="789" r:id="rId17"/>
    <p:sldId id="790" r:id="rId18"/>
    <p:sldId id="709" r:id="rId19"/>
    <p:sldId id="842" r:id="rId20"/>
  </p:sldIdLst>
  <p:sldSz cx="9144000" cy="6858000" type="screen4x3"/>
  <p:notesSz cx="6985000" cy="92837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551" autoAdjust="0"/>
    <p:restoredTop sz="94660"/>
  </p:normalViewPr>
  <p:slideViewPr>
    <p:cSldViewPr snapToGrid="0" snapToObjects="1">
      <p:cViewPr>
        <p:scale>
          <a:sx n="80" d="100"/>
          <a:sy n="80" d="100"/>
        </p:scale>
        <p:origin x="-600" y="-7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0F6875-6036-4E99-95EF-272653146BB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08B7F8D-EA96-48DB-93DF-816F82FCE8E9}">
      <dgm:prSet phldrT="[Texto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pt-BR" sz="3000" b="1" dirty="0" smtClean="0"/>
            <a:t>Concessões Aeroportuárias</a:t>
          </a:r>
          <a:endParaRPr lang="pt-BR" sz="3000" b="1" dirty="0"/>
        </a:p>
      </dgm:t>
    </dgm:pt>
    <dgm:pt modelId="{6C7EF6E4-31CA-40A7-9335-81AC41CE3BD2}" type="parTrans" cxnId="{014B3C0F-E6EB-4F83-B6CF-934391497AED}">
      <dgm:prSet/>
      <dgm:spPr/>
      <dgm:t>
        <a:bodyPr/>
        <a:lstStyle/>
        <a:p>
          <a:endParaRPr lang="pt-BR"/>
        </a:p>
      </dgm:t>
    </dgm:pt>
    <dgm:pt modelId="{295FD080-34CB-402E-B095-A357C1AE609E}" type="sibTrans" cxnId="{014B3C0F-E6EB-4F83-B6CF-934391497AED}">
      <dgm:prSet/>
      <dgm:spPr/>
      <dgm:t>
        <a:bodyPr/>
        <a:lstStyle/>
        <a:p>
          <a:endParaRPr lang="pt-BR"/>
        </a:p>
      </dgm:t>
    </dgm:pt>
    <dgm:pt modelId="{D541600D-9701-4723-8248-08ACA3396824}">
      <dgm:prSet phldrT="[Texto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pt-BR" sz="3000" b="1" dirty="0" smtClean="0"/>
            <a:t>Concessões Atuais</a:t>
          </a:r>
          <a:endParaRPr lang="pt-BR" sz="3000" b="1" dirty="0"/>
        </a:p>
      </dgm:t>
    </dgm:pt>
    <dgm:pt modelId="{B475C0DA-253A-410A-B9DA-22346AD0F9B4}" type="parTrans" cxnId="{62EB094E-E104-444B-9C61-467DB7F94C07}">
      <dgm:prSet/>
      <dgm:spPr/>
      <dgm:t>
        <a:bodyPr/>
        <a:lstStyle/>
        <a:p>
          <a:endParaRPr lang="pt-BR"/>
        </a:p>
      </dgm:t>
    </dgm:pt>
    <dgm:pt modelId="{61642D5D-FC6F-4C7C-BAE2-FD5E7B6B72FF}" type="sibTrans" cxnId="{62EB094E-E104-444B-9C61-467DB7F94C07}">
      <dgm:prSet/>
      <dgm:spPr/>
      <dgm:t>
        <a:bodyPr/>
        <a:lstStyle/>
        <a:p>
          <a:endParaRPr lang="pt-BR"/>
        </a:p>
      </dgm:t>
    </dgm:pt>
    <dgm:pt modelId="{F9F40765-BB27-4917-9633-3ECEE59F7CE7}">
      <dgm:prSet phldrT="[Texto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pt-BR" sz="3000" b="1" dirty="0" smtClean="0"/>
            <a:t>Novas Concessões</a:t>
          </a:r>
          <a:endParaRPr lang="pt-BR" sz="3000" b="1" dirty="0"/>
        </a:p>
      </dgm:t>
    </dgm:pt>
    <dgm:pt modelId="{F07B53A7-E6A8-4CCE-BE6E-F3A5C68D91E5}" type="parTrans" cxnId="{1EE9202C-5847-4023-A38F-B1E1AD51D612}">
      <dgm:prSet/>
      <dgm:spPr/>
      <dgm:t>
        <a:bodyPr/>
        <a:lstStyle/>
        <a:p>
          <a:endParaRPr lang="pt-BR"/>
        </a:p>
      </dgm:t>
    </dgm:pt>
    <dgm:pt modelId="{88B4F00D-1B46-49F8-A90D-74ACC895C996}" type="sibTrans" cxnId="{1EE9202C-5847-4023-A38F-B1E1AD51D612}">
      <dgm:prSet/>
      <dgm:spPr/>
      <dgm:t>
        <a:bodyPr/>
        <a:lstStyle/>
        <a:p>
          <a:endParaRPr lang="pt-BR"/>
        </a:p>
      </dgm:t>
    </dgm:pt>
    <dgm:pt modelId="{4485034B-E76A-4582-B069-A1F46C864B13}">
      <dgm:prSet phldrT="[Texto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pt-BR" sz="3000" b="1" dirty="0" smtClean="0"/>
            <a:t>EVTEA</a:t>
          </a:r>
          <a:endParaRPr lang="pt-BR" sz="3000" b="1" dirty="0"/>
        </a:p>
      </dgm:t>
    </dgm:pt>
    <dgm:pt modelId="{603BEADD-B302-473A-9271-CFA9A4E4A470}" type="parTrans" cxnId="{65D9AD3B-B431-4B13-AAF1-1BB296AFE5E8}">
      <dgm:prSet/>
      <dgm:spPr/>
      <dgm:t>
        <a:bodyPr/>
        <a:lstStyle/>
        <a:p>
          <a:endParaRPr lang="pt-BR"/>
        </a:p>
      </dgm:t>
    </dgm:pt>
    <dgm:pt modelId="{321C2A53-D22C-4FAA-B70E-E0FE5380862C}" type="sibTrans" cxnId="{65D9AD3B-B431-4B13-AAF1-1BB296AFE5E8}">
      <dgm:prSet/>
      <dgm:spPr/>
      <dgm:t>
        <a:bodyPr/>
        <a:lstStyle/>
        <a:p>
          <a:endParaRPr lang="pt-BR"/>
        </a:p>
      </dgm:t>
    </dgm:pt>
    <dgm:pt modelId="{EC711974-B868-4F7E-8882-CD852D460910}">
      <dgm:prSet phldrT="[Texto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pt-BR" sz="3000" b="1" dirty="0" smtClean="0"/>
            <a:t>Edital e Contrato</a:t>
          </a:r>
          <a:endParaRPr lang="pt-BR" sz="3000" b="1" dirty="0"/>
        </a:p>
      </dgm:t>
    </dgm:pt>
    <dgm:pt modelId="{29B4DD54-1FBB-4DB5-8645-6EB3B7BE4A0E}" type="parTrans" cxnId="{E71E0AFF-D6BD-45E3-BF89-94413A2E90C7}">
      <dgm:prSet/>
      <dgm:spPr/>
      <dgm:t>
        <a:bodyPr/>
        <a:lstStyle/>
        <a:p>
          <a:endParaRPr lang="pt-BR"/>
        </a:p>
      </dgm:t>
    </dgm:pt>
    <dgm:pt modelId="{2E5E703D-71E8-4619-A70F-492FDC864C1E}" type="sibTrans" cxnId="{E71E0AFF-D6BD-45E3-BF89-94413A2E90C7}">
      <dgm:prSet/>
      <dgm:spPr/>
      <dgm:t>
        <a:bodyPr/>
        <a:lstStyle/>
        <a:p>
          <a:endParaRPr lang="pt-BR"/>
        </a:p>
      </dgm:t>
    </dgm:pt>
    <dgm:pt modelId="{95D28AF1-A8C1-4280-8AC4-D97943D101E9}" type="pres">
      <dgm:prSet presAssocID="{5D0F6875-6036-4E99-95EF-272653146BB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47E35B7-9BF0-4AFA-88E1-04D2D68F822A}" type="pres">
      <dgm:prSet presAssocID="{008B7F8D-EA96-48DB-93DF-816F82FCE8E9}" presName="parentLin" presStyleCnt="0"/>
      <dgm:spPr/>
    </dgm:pt>
    <dgm:pt modelId="{013838F7-401F-4E59-9C99-0359985C07F4}" type="pres">
      <dgm:prSet presAssocID="{008B7F8D-EA96-48DB-93DF-816F82FCE8E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74DC1A45-32B8-436E-B9F9-9A98EAD3C845}" type="pres">
      <dgm:prSet presAssocID="{008B7F8D-EA96-48DB-93DF-816F82FCE8E9}" presName="parentText" presStyleLbl="node1" presStyleIdx="0" presStyleCnt="1" custScaleY="51345" custLinFactNeighborY="-8666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D3F12BF-A76C-47A0-A9E9-E90E30B61049}" type="pres">
      <dgm:prSet presAssocID="{008B7F8D-EA96-48DB-93DF-816F82FCE8E9}" presName="negativeSpace" presStyleCnt="0"/>
      <dgm:spPr/>
    </dgm:pt>
    <dgm:pt modelId="{CC45D705-BF06-494E-8B55-02AEE1BA3A18}" type="pres">
      <dgm:prSet presAssocID="{008B7F8D-EA96-48DB-93DF-816F82FCE8E9}" presName="childText" presStyleLbl="conFgAcc1" presStyleIdx="0" presStyleCnt="1" custScaleY="12267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71E0AFF-D6BD-45E3-BF89-94413A2E90C7}" srcId="{F9F40765-BB27-4917-9633-3ECEE59F7CE7}" destId="{EC711974-B868-4F7E-8882-CD852D460910}" srcOrd="1" destOrd="0" parTransId="{29B4DD54-1FBB-4DB5-8645-6EB3B7BE4A0E}" sibTransId="{2E5E703D-71E8-4619-A70F-492FDC864C1E}"/>
    <dgm:cxn modelId="{62EB094E-E104-444B-9C61-467DB7F94C07}" srcId="{008B7F8D-EA96-48DB-93DF-816F82FCE8E9}" destId="{D541600D-9701-4723-8248-08ACA3396824}" srcOrd="0" destOrd="0" parTransId="{B475C0DA-253A-410A-B9DA-22346AD0F9B4}" sibTransId="{61642D5D-FC6F-4C7C-BAE2-FD5E7B6B72FF}"/>
    <dgm:cxn modelId="{38275824-CAEE-4AAE-A25A-103E8DE570F2}" type="presOf" srcId="{5D0F6875-6036-4E99-95EF-272653146BB0}" destId="{95D28AF1-A8C1-4280-8AC4-D97943D101E9}" srcOrd="0" destOrd="0" presId="urn:microsoft.com/office/officeart/2005/8/layout/list1"/>
    <dgm:cxn modelId="{C56926DC-1A35-4A67-AA9A-E1A761C5C284}" type="presOf" srcId="{4485034B-E76A-4582-B069-A1F46C864B13}" destId="{CC45D705-BF06-494E-8B55-02AEE1BA3A18}" srcOrd="0" destOrd="2" presId="urn:microsoft.com/office/officeart/2005/8/layout/list1"/>
    <dgm:cxn modelId="{56D0E851-DB39-4BB1-B83B-41C6CAF98679}" type="presOf" srcId="{D541600D-9701-4723-8248-08ACA3396824}" destId="{CC45D705-BF06-494E-8B55-02AEE1BA3A18}" srcOrd="0" destOrd="0" presId="urn:microsoft.com/office/officeart/2005/8/layout/list1"/>
    <dgm:cxn modelId="{7DAF0540-D2E6-4B0C-A859-41344B76AB94}" type="presOf" srcId="{008B7F8D-EA96-48DB-93DF-816F82FCE8E9}" destId="{013838F7-401F-4E59-9C99-0359985C07F4}" srcOrd="0" destOrd="0" presId="urn:microsoft.com/office/officeart/2005/8/layout/list1"/>
    <dgm:cxn modelId="{014B3C0F-E6EB-4F83-B6CF-934391497AED}" srcId="{5D0F6875-6036-4E99-95EF-272653146BB0}" destId="{008B7F8D-EA96-48DB-93DF-816F82FCE8E9}" srcOrd="0" destOrd="0" parTransId="{6C7EF6E4-31CA-40A7-9335-81AC41CE3BD2}" sibTransId="{295FD080-34CB-402E-B095-A357C1AE609E}"/>
    <dgm:cxn modelId="{1EE9202C-5847-4023-A38F-B1E1AD51D612}" srcId="{008B7F8D-EA96-48DB-93DF-816F82FCE8E9}" destId="{F9F40765-BB27-4917-9633-3ECEE59F7CE7}" srcOrd="1" destOrd="0" parTransId="{F07B53A7-E6A8-4CCE-BE6E-F3A5C68D91E5}" sibTransId="{88B4F00D-1B46-49F8-A90D-74ACC895C996}"/>
    <dgm:cxn modelId="{DCB54AC2-68BD-47B2-BA7A-281841A96526}" type="presOf" srcId="{F9F40765-BB27-4917-9633-3ECEE59F7CE7}" destId="{CC45D705-BF06-494E-8B55-02AEE1BA3A18}" srcOrd="0" destOrd="1" presId="urn:microsoft.com/office/officeart/2005/8/layout/list1"/>
    <dgm:cxn modelId="{ABA49955-7207-45D2-BFBF-B727BD5AC957}" type="presOf" srcId="{008B7F8D-EA96-48DB-93DF-816F82FCE8E9}" destId="{74DC1A45-32B8-436E-B9F9-9A98EAD3C845}" srcOrd="1" destOrd="0" presId="urn:microsoft.com/office/officeart/2005/8/layout/list1"/>
    <dgm:cxn modelId="{65D9AD3B-B431-4B13-AAF1-1BB296AFE5E8}" srcId="{F9F40765-BB27-4917-9633-3ECEE59F7CE7}" destId="{4485034B-E76A-4582-B069-A1F46C864B13}" srcOrd="0" destOrd="0" parTransId="{603BEADD-B302-473A-9271-CFA9A4E4A470}" sibTransId="{321C2A53-D22C-4FAA-B70E-E0FE5380862C}"/>
    <dgm:cxn modelId="{CC681B08-84C9-43C5-BA8F-D9276B16CD5B}" type="presOf" srcId="{EC711974-B868-4F7E-8882-CD852D460910}" destId="{CC45D705-BF06-494E-8B55-02AEE1BA3A18}" srcOrd="0" destOrd="3" presId="urn:microsoft.com/office/officeart/2005/8/layout/list1"/>
    <dgm:cxn modelId="{DC4D2C54-65F7-4DD7-892F-4CE30ED01627}" type="presParOf" srcId="{95D28AF1-A8C1-4280-8AC4-D97943D101E9}" destId="{E47E35B7-9BF0-4AFA-88E1-04D2D68F822A}" srcOrd="0" destOrd="0" presId="urn:microsoft.com/office/officeart/2005/8/layout/list1"/>
    <dgm:cxn modelId="{CFEF37FE-85FE-433C-8626-A747887539CA}" type="presParOf" srcId="{E47E35B7-9BF0-4AFA-88E1-04D2D68F822A}" destId="{013838F7-401F-4E59-9C99-0359985C07F4}" srcOrd="0" destOrd="0" presId="urn:microsoft.com/office/officeart/2005/8/layout/list1"/>
    <dgm:cxn modelId="{E2416E37-8063-4CDF-A742-73EC0CAEA4C5}" type="presParOf" srcId="{E47E35B7-9BF0-4AFA-88E1-04D2D68F822A}" destId="{74DC1A45-32B8-436E-B9F9-9A98EAD3C845}" srcOrd="1" destOrd="0" presId="urn:microsoft.com/office/officeart/2005/8/layout/list1"/>
    <dgm:cxn modelId="{37CB1E4C-6591-4AD0-8DC0-20B48E277638}" type="presParOf" srcId="{95D28AF1-A8C1-4280-8AC4-D97943D101E9}" destId="{3D3F12BF-A76C-47A0-A9E9-E90E30B61049}" srcOrd="1" destOrd="0" presId="urn:microsoft.com/office/officeart/2005/8/layout/list1"/>
    <dgm:cxn modelId="{2B98948B-3DC3-43E7-906C-1A9ED1C6AFFA}" type="presParOf" srcId="{95D28AF1-A8C1-4280-8AC4-D97943D101E9}" destId="{CC45D705-BF06-494E-8B55-02AEE1BA3A18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5EDAD25-B866-40D3-B143-8F9EC91BEDD5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BEAE2C7-0A49-497E-9186-327608884341}">
      <dgm:prSet phldrT="[Texto]" custT="1"/>
      <dgm:spPr/>
      <dgm:t>
        <a:bodyPr/>
        <a:lstStyle/>
        <a:p>
          <a:r>
            <a:rPr lang="pt-BR" sz="1600" u="none" dirty="0" smtClean="0">
              <a:solidFill>
                <a:schemeClr val="bg1"/>
              </a:solidFill>
            </a:rPr>
            <a:t>Relatório de Qualidade de Serviço</a:t>
          </a:r>
          <a:endParaRPr lang="pt-BR" sz="1600" u="none" dirty="0">
            <a:solidFill>
              <a:schemeClr val="bg1"/>
            </a:solidFill>
          </a:endParaRPr>
        </a:p>
      </dgm:t>
    </dgm:pt>
    <dgm:pt modelId="{FBEB67BF-B846-4A85-B364-B2397A55B139}" type="parTrans" cxnId="{73CA5AF2-6B73-4DB6-8103-9F037411AC59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57540958-8DE8-4395-BFA7-6DD273F8F2FD}" type="sibTrans" cxnId="{73CA5AF2-6B73-4DB6-8103-9F037411AC59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B9FAE87B-A629-4720-B6B3-75342F0D3446}">
      <dgm:prSet custT="1"/>
      <dgm:spPr/>
      <dgm:t>
        <a:bodyPr/>
        <a:lstStyle/>
        <a:p>
          <a:r>
            <a:rPr lang="pt-BR" sz="1600" dirty="0" smtClean="0">
              <a:solidFill>
                <a:schemeClr val="bg1"/>
              </a:solidFill>
            </a:rPr>
            <a:t>Capacitação de funcionários</a:t>
          </a:r>
        </a:p>
      </dgm:t>
    </dgm:pt>
    <dgm:pt modelId="{B2D4D303-C720-4A00-8DC1-0073770B705B}" type="parTrans" cxnId="{2412C0B7-002E-48C9-8CFD-94D1EE382BE9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30907BBA-FDED-452B-A543-7E70C528A7D3}" type="sibTrans" cxnId="{2412C0B7-002E-48C9-8CFD-94D1EE382BE9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86FAE981-7F5B-4AAF-9D95-96ED3BC85224}">
      <dgm:prSet custT="1"/>
      <dgm:spPr/>
      <dgm:t>
        <a:bodyPr/>
        <a:lstStyle/>
        <a:p>
          <a:r>
            <a:rPr lang="pt-BR" sz="1600" dirty="0" smtClean="0">
              <a:solidFill>
                <a:schemeClr val="bg1"/>
              </a:solidFill>
            </a:rPr>
            <a:t>Serviço de Informação, </a:t>
          </a:r>
          <a:r>
            <a:rPr lang="pt-BR" sz="1600" dirty="0" err="1" smtClean="0">
              <a:solidFill>
                <a:schemeClr val="bg1"/>
              </a:solidFill>
            </a:rPr>
            <a:t>Website</a:t>
          </a:r>
          <a:r>
            <a:rPr lang="pt-BR" sz="1600" dirty="0" smtClean="0">
              <a:solidFill>
                <a:schemeClr val="bg1"/>
              </a:solidFill>
            </a:rPr>
            <a:t> e Sistemas de TI</a:t>
          </a:r>
        </a:p>
      </dgm:t>
    </dgm:pt>
    <dgm:pt modelId="{27B35DFB-237A-4969-A6CF-0457A8E2FA00}" type="parTrans" cxnId="{19116A17-E800-4D5F-8077-A64A71E34768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4B17F7BF-5CE0-4FBF-B021-F630A2AA669F}" type="sibTrans" cxnId="{19116A17-E800-4D5F-8077-A64A71E34768}">
      <dgm:prSet/>
      <dgm:spPr/>
      <dgm:t>
        <a:bodyPr/>
        <a:lstStyle/>
        <a:p>
          <a:endParaRPr lang="pt-BR" sz="2400">
            <a:solidFill>
              <a:schemeClr val="bg1"/>
            </a:solidFill>
          </a:endParaRPr>
        </a:p>
      </dgm:t>
    </dgm:pt>
    <dgm:pt modelId="{E04034FD-54E9-4DC0-BED5-AB1526743117}">
      <dgm:prSet phldrT="[Texto]" custT="1"/>
      <dgm:spPr/>
      <dgm:t>
        <a:bodyPr/>
        <a:lstStyle/>
        <a:p>
          <a:r>
            <a:rPr lang="pt-BR" sz="1400" dirty="0" smtClean="0">
              <a:solidFill>
                <a:schemeClr val="accent1">
                  <a:lumMod val="75000"/>
                </a:schemeClr>
              </a:solidFill>
            </a:rPr>
            <a:t>Indicadores de qualidade de serviço: Fator Q</a:t>
          </a:r>
          <a:endParaRPr lang="pt-BR" sz="1400" u="none" dirty="0">
            <a:solidFill>
              <a:schemeClr val="bg1"/>
            </a:solidFill>
          </a:endParaRPr>
        </a:p>
      </dgm:t>
    </dgm:pt>
    <dgm:pt modelId="{F45F625C-DDC3-4B8E-8E0E-8E6F5CBC24FC}" type="parTrans" cxnId="{AE7B051D-203B-404F-9C86-C75D6E4858AB}">
      <dgm:prSet/>
      <dgm:spPr/>
      <dgm:t>
        <a:bodyPr/>
        <a:lstStyle/>
        <a:p>
          <a:endParaRPr lang="pt-BR" sz="2400"/>
        </a:p>
      </dgm:t>
    </dgm:pt>
    <dgm:pt modelId="{B09A3AE2-A4B9-457E-9D78-C4FB36563621}" type="sibTrans" cxnId="{AE7B051D-203B-404F-9C86-C75D6E4858AB}">
      <dgm:prSet/>
      <dgm:spPr/>
      <dgm:t>
        <a:bodyPr/>
        <a:lstStyle/>
        <a:p>
          <a:endParaRPr lang="pt-BR" sz="2400"/>
        </a:p>
      </dgm:t>
    </dgm:pt>
    <dgm:pt modelId="{7F7FAC9E-4437-4535-B61C-BD6D0206F489}">
      <dgm:prSet custT="1"/>
      <dgm:spPr/>
      <dgm:t>
        <a:bodyPr/>
        <a:lstStyle/>
        <a:p>
          <a:r>
            <a:rPr lang="pt-BR" sz="1400" dirty="0" smtClean="0">
              <a:solidFill>
                <a:schemeClr val="accent1">
                  <a:lumMod val="75000"/>
                </a:schemeClr>
              </a:solidFill>
            </a:rPr>
            <a:t>Variação tarifária: - 7,5% a + 2% </a:t>
          </a:r>
        </a:p>
      </dgm:t>
    </dgm:pt>
    <dgm:pt modelId="{1DC0FC3F-CBC8-4952-B2F1-F29183BD70BD}" type="parTrans" cxnId="{F9667B69-31BB-41E4-A2A1-D3A30ADA7F53}">
      <dgm:prSet/>
      <dgm:spPr/>
      <dgm:t>
        <a:bodyPr/>
        <a:lstStyle/>
        <a:p>
          <a:endParaRPr lang="pt-BR" sz="2400"/>
        </a:p>
      </dgm:t>
    </dgm:pt>
    <dgm:pt modelId="{D67FFDB4-E018-4595-9916-BB967F0249F5}" type="sibTrans" cxnId="{F9667B69-31BB-41E4-A2A1-D3A30ADA7F53}">
      <dgm:prSet/>
      <dgm:spPr/>
      <dgm:t>
        <a:bodyPr/>
        <a:lstStyle/>
        <a:p>
          <a:endParaRPr lang="pt-BR" sz="2400"/>
        </a:p>
      </dgm:t>
    </dgm:pt>
    <dgm:pt modelId="{5B8EEA33-4640-46F0-B1C9-8CBFABBC16CE}" type="pres">
      <dgm:prSet presAssocID="{55EDAD25-B866-40D3-B143-8F9EC91BEDD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0AC1B6-6693-455D-BECD-C32DE7E3BAAF}" type="pres">
      <dgm:prSet presAssocID="{5BEAE2C7-0A49-497E-9186-327608884341}" presName="parentLin" presStyleCnt="0"/>
      <dgm:spPr/>
    </dgm:pt>
    <dgm:pt modelId="{EF2363D8-1633-4B48-876A-B195D5B7EB77}" type="pres">
      <dgm:prSet presAssocID="{5BEAE2C7-0A49-497E-9186-327608884341}" presName="parentLeftMargin" presStyleLbl="node1" presStyleIdx="0" presStyleCnt="3"/>
      <dgm:spPr/>
      <dgm:t>
        <a:bodyPr/>
        <a:lstStyle/>
        <a:p>
          <a:endParaRPr lang="pt-BR"/>
        </a:p>
      </dgm:t>
    </dgm:pt>
    <dgm:pt modelId="{AE429A70-4C11-4FEE-A160-092788E2722F}" type="pres">
      <dgm:prSet presAssocID="{5BEAE2C7-0A49-497E-9186-32760888434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2C31490-8ACD-48C9-9123-713A29C3F7A4}" type="pres">
      <dgm:prSet presAssocID="{5BEAE2C7-0A49-497E-9186-327608884341}" presName="negativeSpace" presStyleCnt="0"/>
      <dgm:spPr/>
    </dgm:pt>
    <dgm:pt modelId="{C247F371-2B30-452C-9C0C-B28475BEDCA1}" type="pres">
      <dgm:prSet presAssocID="{5BEAE2C7-0A49-497E-9186-327608884341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2589F6-46B0-42F5-8DD9-7A20EEC7555E}" type="pres">
      <dgm:prSet presAssocID="{57540958-8DE8-4395-BFA7-6DD273F8F2FD}" presName="spaceBetweenRectangles" presStyleCnt="0"/>
      <dgm:spPr/>
    </dgm:pt>
    <dgm:pt modelId="{BEAB66C5-2F80-41B3-B9F1-A76C0AF3F98D}" type="pres">
      <dgm:prSet presAssocID="{B9FAE87B-A629-4720-B6B3-75342F0D3446}" presName="parentLin" presStyleCnt="0"/>
      <dgm:spPr/>
    </dgm:pt>
    <dgm:pt modelId="{F822F84F-1DD5-450F-A508-36A2BA393873}" type="pres">
      <dgm:prSet presAssocID="{B9FAE87B-A629-4720-B6B3-75342F0D3446}" presName="parentLeftMargin" presStyleLbl="node1" presStyleIdx="0" presStyleCnt="3"/>
      <dgm:spPr/>
      <dgm:t>
        <a:bodyPr/>
        <a:lstStyle/>
        <a:p>
          <a:endParaRPr lang="pt-BR"/>
        </a:p>
      </dgm:t>
    </dgm:pt>
    <dgm:pt modelId="{09884FA2-E9A5-4072-85C1-0BDD5C1E0731}" type="pres">
      <dgm:prSet presAssocID="{B9FAE87B-A629-4720-B6B3-75342F0D344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0B5069D-D224-491E-892B-FCAEDECE4DB4}" type="pres">
      <dgm:prSet presAssocID="{B9FAE87B-A629-4720-B6B3-75342F0D3446}" presName="negativeSpace" presStyleCnt="0"/>
      <dgm:spPr/>
    </dgm:pt>
    <dgm:pt modelId="{97A68E7A-009D-42F6-B3E8-8C433D99582E}" type="pres">
      <dgm:prSet presAssocID="{B9FAE87B-A629-4720-B6B3-75342F0D3446}" presName="childText" presStyleLbl="conFgAcc1" presStyleIdx="1" presStyleCnt="3">
        <dgm:presLayoutVars>
          <dgm:bulletEnabled val="1"/>
        </dgm:presLayoutVars>
      </dgm:prSet>
      <dgm:spPr/>
    </dgm:pt>
    <dgm:pt modelId="{13FF0BA8-DD28-449B-AC83-C1C3B0AF6796}" type="pres">
      <dgm:prSet presAssocID="{30907BBA-FDED-452B-A543-7E70C528A7D3}" presName="spaceBetweenRectangles" presStyleCnt="0"/>
      <dgm:spPr/>
    </dgm:pt>
    <dgm:pt modelId="{4701843A-9428-45FB-92C9-3A6D99720DFA}" type="pres">
      <dgm:prSet presAssocID="{86FAE981-7F5B-4AAF-9D95-96ED3BC85224}" presName="parentLin" presStyleCnt="0"/>
      <dgm:spPr/>
    </dgm:pt>
    <dgm:pt modelId="{EA03E73B-12C4-446C-8BB2-0EF455E07BFB}" type="pres">
      <dgm:prSet presAssocID="{86FAE981-7F5B-4AAF-9D95-96ED3BC85224}" presName="parentLeftMargin" presStyleLbl="node1" presStyleIdx="1" presStyleCnt="3"/>
      <dgm:spPr/>
      <dgm:t>
        <a:bodyPr/>
        <a:lstStyle/>
        <a:p>
          <a:endParaRPr lang="pt-BR"/>
        </a:p>
      </dgm:t>
    </dgm:pt>
    <dgm:pt modelId="{3D082E7D-3B9A-4E6F-B7C1-3B9272AF0D54}" type="pres">
      <dgm:prSet presAssocID="{86FAE981-7F5B-4AAF-9D95-96ED3BC8522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055CB2F-CDD9-41A9-90BB-714C90C7127A}" type="pres">
      <dgm:prSet presAssocID="{86FAE981-7F5B-4AAF-9D95-96ED3BC85224}" presName="negativeSpace" presStyleCnt="0"/>
      <dgm:spPr/>
    </dgm:pt>
    <dgm:pt modelId="{31BAEEF7-C7DE-471C-B9E1-F91B3DFC44AD}" type="pres">
      <dgm:prSet presAssocID="{86FAE981-7F5B-4AAF-9D95-96ED3BC85224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DDB9173-6C57-4500-91E5-BB542E5CAEFD}" type="presOf" srcId="{B9FAE87B-A629-4720-B6B3-75342F0D3446}" destId="{F822F84F-1DD5-450F-A508-36A2BA393873}" srcOrd="0" destOrd="0" presId="urn:microsoft.com/office/officeart/2005/8/layout/list1"/>
    <dgm:cxn modelId="{2412C0B7-002E-48C9-8CFD-94D1EE382BE9}" srcId="{55EDAD25-B866-40D3-B143-8F9EC91BEDD5}" destId="{B9FAE87B-A629-4720-B6B3-75342F0D3446}" srcOrd="1" destOrd="0" parTransId="{B2D4D303-C720-4A00-8DC1-0073770B705B}" sibTransId="{30907BBA-FDED-452B-A543-7E70C528A7D3}"/>
    <dgm:cxn modelId="{488A61BF-8118-4438-B98C-04DDE774B48D}" type="presOf" srcId="{B9FAE87B-A629-4720-B6B3-75342F0D3446}" destId="{09884FA2-E9A5-4072-85C1-0BDD5C1E0731}" srcOrd="1" destOrd="0" presId="urn:microsoft.com/office/officeart/2005/8/layout/list1"/>
    <dgm:cxn modelId="{AE7B051D-203B-404F-9C86-C75D6E4858AB}" srcId="{5BEAE2C7-0A49-497E-9186-327608884341}" destId="{E04034FD-54E9-4DC0-BED5-AB1526743117}" srcOrd="0" destOrd="0" parTransId="{F45F625C-DDC3-4B8E-8E0E-8E6F5CBC24FC}" sibTransId="{B09A3AE2-A4B9-457E-9D78-C4FB36563621}"/>
    <dgm:cxn modelId="{19116A17-E800-4D5F-8077-A64A71E34768}" srcId="{55EDAD25-B866-40D3-B143-8F9EC91BEDD5}" destId="{86FAE981-7F5B-4AAF-9D95-96ED3BC85224}" srcOrd="2" destOrd="0" parTransId="{27B35DFB-237A-4969-A6CF-0457A8E2FA00}" sibTransId="{4B17F7BF-5CE0-4FBF-B021-F630A2AA669F}"/>
    <dgm:cxn modelId="{870BE43B-B821-4CEB-A64B-23B8A191EF93}" type="presOf" srcId="{E04034FD-54E9-4DC0-BED5-AB1526743117}" destId="{C247F371-2B30-452C-9C0C-B28475BEDCA1}" srcOrd="0" destOrd="0" presId="urn:microsoft.com/office/officeart/2005/8/layout/list1"/>
    <dgm:cxn modelId="{F17C0FF5-59D3-4912-A80D-F03B480F3154}" type="presOf" srcId="{7F7FAC9E-4437-4535-B61C-BD6D0206F489}" destId="{C247F371-2B30-452C-9C0C-B28475BEDCA1}" srcOrd="0" destOrd="1" presId="urn:microsoft.com/office/officeart/2005/8/layout/list1"/>
    <dgm:cxn modelId="{67DF4B1B-771C-488F-B71E-7D3409219EF6}" type="presOf" srcId="{86FAE981-7F5B-4AAF-9D95-96ED3BC85224}" destId="{3D082E7D-3B9A-4E6F-B7C1-3B9272AF0D54}" srcOrd="1" destOrd="0" presId="urn:microsoft.com/office/officeart/2005/8/layout/list1"/>
    <dgm:cxn modelId="{B1D49148-E1E5-42FA-8CEF-78A96EB2DE9A}" type="presOf" srcId="{86FAE981-7F5B-4AAF-9D95-96ED3BC85224}" destId="{EA03E73B-12C4-446C-8BB2-0EF455E07BFB}" srcOrd="0" destOrd="0" presId="urn:microsoft.com/office/officeart/2005/8/layout/list1"/>
    <dgm:cxn modelId="{92B6B53F-BBE5-4AEE-9BFF-6E539E0BBBC0}" type="presOf" srcId="{55EDAD25-B866-40D3-B143-8F9EC91BEDD5}" destId="{5B8EEA33-4640-46F0-B1C9-8CBFABBC16CE}" srcOrd="0" destOrd="0" presId="urn:microsoft.com/office/officeart/2005/8/layout/list1"/>
    <dgm:cxn modelId="{6C028D62-450D-4EEC-B908-2016E0738441}" type="presOf" srcId="{5BEAE2C7-0A49-497E-9186-327608884341}" destId="{EF2363D8-1633-4B48-876A-B195D5B7EB77}" srcOrd="0" destOrd="0" presId="urn:microsoft.com/office/officeart/2005/8/layout/list1"/>
    <dgm:cxn modelId="{73CA5AF2-6B73-4DB6-8103-9F037411AC59}" srcId="{55EDAD25-B866-40D3-B143-8F9EC91BEDD5}" destId="{5BEAE2C7-0A49-497E-9186-327608884341}" srcOrd="0" destOrd="0" parTransId="{FBEB67BF-B846-4A85-B364-B2397A55B139}" sibTransId="{57540958-8DE8-4395-BFA7-6DD273F8F2FD}"/>
    <dgm:cxn modelId="{F9667B69-31BB-41E4-A2A1-D3A30ADA7F53}" srcId="{5BEAE2C7-0A49-497E-9186-327608884341}" destId="{7F7FAC9E-4437-4535-B61C-BD6D0206F489}" srcOrd="1" destOrd="0" parTransId="{1DC0FC3F-CBC8-4952-B2F1-F29183BD70BD}" sibTransId="{D67FFDB4-E018-4595-9916-BB967F0249F5}"/>
    <dgm:cxn modelId="{CC345123-8381-4CD5-80B6-5B457AE7ACDE}" type="presOf" srcId="{5BEAE2C7-0A49-497E-9186-327608884341}" destId="{AE429A70-4C11-4FEE-A160-092788E2722F}" srcOrd="1" destOrd="0" presId="urn:microsoft.com/office/officeart/2005/8/layout/list1"/>
    <dgm:cxn modelId="{5D3ACE29-5264-4A3F-BD94-9F0704367D94}" type="presParOf" srcId="{5B8EEA33-4640-46F0-B1C9-8CBFABBC16CE}" destId="{640AC1B6-6693-455D-BECD-C32DE7E3BAAF}" srcOrd="0" destOrd="0" presId="urn:microsoft.com/office/officeart/2005/8/layout/list1"/>
    <dgm:cxn modelId="{F68085EE-3AB8-430D-8F57-B9BFD5B80899}" type="presParOf" srcId="{640AC1B6-6693-455D-BECD-C32DE7E3BAAF}" destId="{EF2363D8-1633-4B48-876A-B195D5B7EB77}" srcOrd="0" destOrd="0" presId="urn:microsoft.com/office/officeart/2005/8/layout/list1"/>
    <dgm:cxn modelId="{92093644-4539-44B9-8897-5F53A2B4CFD7}" type="presParOf" srcId="{640AC1B6-6693-455D-BECD-C32DE7E3BAAF}" destId="{AE429A70-4C11-4FEE-A160-092788E2722F}" srcOrd="1" destOrd="0" presId="urn:microsoft.com/office/officeart/2005/8/layout/list1"/>
    <dgm:cxn modelId="{D07C9821-1E2C-4F2F-AED3-C34C604F9CAC}" type="presParOf" srcId="{5B8EEA33-4640-46F0-B1C9-8CBFABBC16CE}" destId="{22C31490-8ACD-48C9-9123-713A29C3F7A4}" srcOrd="1" destOrd="0" presId="urn:microsoft.com/office/officeart/2005/8/layout/list1"/>
    <dgm:cxn modelId="{9EF7061F-9AC4-4CED-B708-AA0A5860EB45}" type="presParOf" srcId="{5B8EEA33-4640-46F0-B1C9-8CBFABBC16CE}" destId="{C247F371-2B30-452C-9C0C-B28475BEDCA1}" srcOrd="2" destOrd="0" presId="urn:microsoft.com/office/officeart/2005/8/layout/list1"/>
    <dgm:cxn modelId="{082C8F25-1794-4DC7-8BC1-C5FE59454C97}" type="presParOf" srcId="{5B8EEA33-4640-46F0-B1C9-8CBFABBC16CE}" destId="{CA2589F6-46B0-42F5-8DD9-7A20EEC7555E}" srcOrd="3" destOrd="0" presId="urn:microsoft.com/office/officeart/2005/8/layout/list1"/>
    <dgm:cxn modelId="{E132F8BC-74F8-492D-AF10-F05A21C5FA5E}" type="presParOf" srcId="{5B8EEA33-4640-46F0-B1C9-8CBFABBC16CE}" destId="{BEAB66C5-2F80-41B3-B9F1-A76C0AF3F98D}" srcOrd="4" destOrd="0" presId="urn:microsoft.com/office/officeart/2005/8/layout/list1"/>
    <dgm:cxn modelId="{756052C0-9C4B-4281-908A-611A03C758D8}" type="presParOf" srcId="{BEAB66C5-2F80-41B3-B9F1-A76C0AF3F98D}" destId="{F822F84F-1DD5-450F-A508-36A2BA393873}" srcOrd="0" destOrd="0" presId="urn:microsoft.com/office/officeart/2005/8/layout/list1"/>
    <dgm:cxn modelId="{B0B91952-6D61-476B-B6AC-80A4E3FAD824}" type="presParOf" srcId="{BEAB66C5-2F80-41B3-B9F1-A76C0AF3F98D}" destId="{09884FA2-E9A5-4072-85C1-0BDD5C1E0731}" srcOrd="1" destOrd="0" presId="urn:microsoft.com/office/officeart/2005/8/layout/list1"/>
    <dgm:cxn modelId="{C8FCC548-CD7C-47AF-A696-569132E4EE7B}" type="presParOf" srcId="{5B8EEA33-4640-46F0-B1C9-8CBFABBC16CE}" destId="{00B5069D-D224-491E-892B-FCAEDECE4DB4}" srcOrd="5" destOrd="0" presId="urn:microsoft.com/office/officeart/2005/8/layout/list1"/>
    <dgm:cxn modelId="{0F76F92C-1CF3-439B-BA63-9F687D5A1277}" type="presParOf" srcId="{5B8EEA33-4640-46F0-B1C9-8CBFABBC16CE}" destId="{97A68E7A-009D-42F6-B3E8-8C433D99582E}" srcOrd="6" destOrd="0" presId="urn:microsoft.com/office/officeart/2005/8/layout/list1"/>
    <dgm:cxn modelId="{5EC14756-3A4F-4F5D-AEC8-95B38CD6F4C4}" type="presParOf" srcId="{5B8EEA33-4640-46F0-B1C9-8CBFABBC16CE}" destId="{13FF0BA8-DD28-449B-AC83-C1C3B0AF6796}" srcOrd="7" destOrd="0" presId="urn:microsoft.com/office/officeart/2005/8/layout/list1"/>
    <dgm:cxn modelId="{DE400E4D-583B-4D30-8406-AFF2CDD81B24}" type="presParOf" srcId="{5B8EEA33-4640-46F0-B1C9-8CBFABBC16CE}" destId="{4701843A-9428-45FB-92C9-3A6D99720DFA}" srcOrd="8" destOrd="0" presId="urn:microsoft.com/office/officeart/2005/8/layout/list1"/>
    <dgm:cxn modelId="{34E42A2F-6E93-4F0F-A38C-AFB5E041A960}" type="presParOf" srcId="{4701843A-9428-45FB-92C9-3A6D99720DFA}" destId="{EA03E73B-12C4-446C-8BB2-0EF455E07BFB}" srcOrd="0" destOrd="0" presId="urn:microsoft.com/office/officeart/2005/8/layout/list1"/>
    <dgm:cxn modelId="{B07B64A5-8164-4B91-8618-9E30FD74C53C}" type="presParOf" srcId="{4701843A-9428-45FB-92C9-3A6D99720DFA}" destId="{3D082E7D-3B9A-4E6F-B7C1-3B9272AF0D54}" srcOrd="1" destOrd="0" presId="urn:microsoft.com/office/officeart/2005/8/layout/list1"/>
    <dgm:cxn modelId="{4CA980E9-DEF8-438E-B738-C8CA767E3071}" type="presParOf" srcId="{5B8EEA33-4640-46F0-B1C9-8CBFABBC16CE}" destId="{F055CB2F-CDD9-41A9-90BB-714C90C7127A}" srcOrd="9" destOrd="0" presId="urn:microsoft.com/office/officeart/2005/8/layout/list1"/>
    <dgm:cxn modelId="{AD21E342-7A4E-438D-AD25-612D6CCBB535}" type="presParOf" srcId="{5B8EEA33-4640-46F0-B1C9-8CBFABBC16CE}" destId="{31BAEEF7-C7DE-471C-B9E1-F91B3DFC44A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52E88B2-F78C-4791-881B-D8E846BC306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21D116C-A5CC-483F-A033-751B2E41AA35}">
      <dgm:prSet custT="1"/>
      <dgm:spPr/>
      <dgm:t>
        <a:bodyPr/>
        <a:lstStyle/>
        <a:p>
          <a:pPr rtl="0"/>
          <a:r>
            <a:rPr lang="pt-BR" sz="2000" b="1" dirty="0" smtClean="0">
              <a:solidFill>
                <a:schemeClr val="bg1"/>
              </a:solidFill>
            </a:rPr>
            <a:t>Galeão</a:t>
          </a:r>
          <a:endParaRPr lang="pt-BR" sz="2000" dirty="0">
            <a:solidFill>
              <a:schemeClr val="bg1"/>
            </a:solidFill>
          </a:endParaRPr>
        </a:p>
      </dgm:t>
    </dgm:pt>
    <dgm:pt modelId="{3B8127DC-8FEA-40DD-BFB3-2AB02CB67B9B}" type="parTrans" cxnId="{AD925392-C7EB-411B-A5D5-F13301AF0491}">
      <dgm:prSet/>
      <dgm:spPr/>
      <dgm:t>
        <a:bodyPr/>
        <a:lstStyle/>
        <a:p>
          <a:endParaRPr lang="pt-BR" sz="1400"/>
        </a:p>
      </dgm:t>
    </dgm:pt>
    <dgm:pt modelId="{3E38EAEE-8D60-43FF-98A5-427E959E351C}" type="sibTrans" cxnId="{AD925392-C7EB-411B-A5D5-F13301AF0491}">
      <dgm:prSet/>
      <dgm:spPr/>
      <dgm:t>
        <a:bodyPr/>
        <a:lstStyle/>
        <a:p>
          <a:endParaRPr lang="pt-BR" sz="1400"/>
        </a:p>
      </dgm:t>
    </dgm:pt>
    <dgm:pt modelId="{872DD662-294B-404E-BF88-B555B1887C24}">
      <dgm:prSet custT="1"/>
      <dgm:spPr/>
      <dgm:t>
        <a:bodyPr/>
        <a:lstStyle/>
        <a:p>
          <a:pPr rtl="0"/>
          <a:r>
            <a:rPr lang="pt-BR" sz="1600" b="0" dirty="0" smtClean="0">
              <a:solidFill>
                <a:schemeClr val="tx1"/>
              </a:solidFill>
            </a:rPr>
            <a:t>Novo TPS para mais 1.650 passageiros domésticos em embarque e 1.700 em desembarque (em hora pico), com 14 pontes de embarque  e posições de pátio para atender 11 aeronaves Código C e 3 aeronaves Código E.</a:t>
          </a:r>
          <a:endParaRPr lang="pt-BR" sz="1600" b="0" dirty="0">
            <a:solidFill>
              <a:schemeClr val="tx1"/>
            </a:solidFill>
          </a:endParaRPr>
        </a:p>
      </dgm:t>
    </dgm:pt>
    <dgm:pt modelId="{2237AC48-AF20-4769-A34C-DCFFD73D4B64}" type="parTrans" cxnId="{12D65A06-3B53-4669-97F1-7A81C2FFC4E9}">
      <dgm:prSet/>
      <dgm:spPr/>
      <dgm:t>
        <a:bodyPr/>
        <a:lstStyle/>
        <a:p>
          <a:endParaRPr lang="pt-BR" sz="1400"/>
        </a:p>
      </dgm:t>
    </dgm:pt>
    <dgm:pt modelId="{ACD991FD-50DA-4FF6-9CFD-CBA39193C995}" type="sibTrans" cxnId="{12D65A06-3B53-4669-97F1-7A81C2FFC4E9}">
      <dgm:prSet/>
      <dgm:spPr/>
      <dgm:t>
        <a:bodyPr/>
        <a:lstStyle/>
        <a:p>
          <a:endParaRPr lang="pt-BR" sz="1400"/>
        </a:p>
      </dgm:t>
    </dgm:pt>
    <dgm:pt modelId="{38BAFF65-ECE9-4B03-B1EE-D2590520F7FF}">
      <dgm:prSet custT="1"/>
      <dgm:spPr/>
      <dgm:t>
        <a:bodyPr/>
        <a:lstStyle/>
        <a:p>
          <a:pPr rtl="0"/>
          <a:r>
            <a:rPr lang="pt-BR" sz="1600" b="0" dirty="0" smtClean="0">
              <a:solidFill>
                <a:schemeClr val="tx1"/>
              </a:solidFill>
            </a:rPr>
            <a:t>Pátio de Aeronaves para atender 7 aeronaves Código C adicionais.</a:t>
          </a:r>
          <a:endParaRPr lang="pt-BR" sz="1600" b="0" dirty="0">
            <a:solidFill>
              <a:schemeClr val="tx1"/>
            </a:solidFill>
          </a:endParaRPr>
        </a:p>
      </dgm:t>
    </dgm:pt>
    <dgm:pt modelId="{D2D48E42-878A-4720-88AC-639D96A6AA51}" type="parTrans" cxnId="{E6CA5B66-E0F7-484B-857E-EA11F520FAEA}">
      <dgm:prSet/>
      <dgm:spPr/>
      <dgm:t>
        <a:bodyPr/>
        <a:lstStyle/>
        <a:p>
          <a:endParaRPr lang="pt-BR" sz="1400"/>
        </a:p>
      </dgm:t>
    </dgm:pt>
    <dgm:pt modelId="{85C06FA8-4AB3-4F4D-A7D7-0AD6805C3E11}" type="sibTrans" cxnId="{E6CA5B66-E0F7-484B-857E-EA11F520FAEA}">
      <dgm:prSet/>
      <dgm:spPr/>
      <dgm:t>
        <a:bodyPr/>
        <a:lstStyle/>
        <a:p>
          <a:endParaRPr lang="pt-BR" sz="1400"/>
        </a:p>
      </dgm:t>
    </dgm:pt>
    <dgm:pt modelId="{9E535677-FD58-4EF0-A55F-C8A3421A450A}">
      <dgm:prSet custT="1"/>
      <dgm:spPr/>
      <dgm:t>
        <a:bodyPr/>
        <a:lstStyle/>
        <a:p>
          <a:pPr rtl="0"/>
          <a:r>
            <a:rPr lang="pt-BR" sz="1600" b="1" dirty="0" smtClean="0">
              <a:solidFill>
                <a:schemeClr val="tx1"/>
              </a:solidFill>
            </a:rPr>
            <a:t>A partir de 144.000 movimentos/ano:</a:t>
          </a:r>
          <a:endParaRPr lang="pt-BR" sz="1600" b="1" dirty="0">
            <a:solidFill>
              <a:schemeClr val="tx1"/>
            </a:solidFill>
          </a:endParaRPr>
        </a:p>
      </dgm:t>
    </dgm:pt>
    <dgm:pt modelId="{0B903243-31CF-4F0C-BCC8-13E5A39D2922}" type="parTrans" cxnId="{8076CCF1-CF4E-4529-9440-56A56756E9C7}">
      <dgm:prSet/>
      <dgm:spPr/>
      <dgm:t>
        <a:bodyPr/>
        <a:lstStyle/>
        <a:p>
          <a:endParaRPr lang="pt-BR" sz="1400"/>
        </a:p>
      </dgm:t>
    </dgm:pt>
    <dgm:pt modelId="{B272779C-0298-4009-B9C2-78FBDCD62C80}" type="sibTrans" cxnId="{8076CCF1-CF4E-4529-9440-56A56756E9C7}">
      <dgm:prSet/>
      <dgm:spPr/>
      <dgm:t>
        <a:bodyPr/>
        <a:lstStyle/>
        <a:p>
          <a:endParaRPr lang="pt-BR" sz="1400"/>
        </a:p>
      </dgm:t>
    </dgm:pt>
    <dgm:pt modelId="{F2443910-2BC7-424D-AED1-9B6323059561}">
      <dgm:prSet custT="1"/>
      <dgm:spPr/>
      <dgm:t>
        <a:bodyPr/>
        <a:lstStyle/>
        <a:p>
          <a:pPr rtl="0"/>
          <a:r>
            <a:rPr lang="pt-BR" sz="1600" b="0" dirty="0" smtClean="0">
              <a:solidFill>
                <a:schemeClr val="tx1"/>
              </a:solidFill>
            </a:rPr>
            <a:t>Construção da 2ª pista independente (a ser terminada antes de atingir 198.000 movimentos/ano  ou até dez/2020)</a:t>
          </a:r>
          <a:endParaRPr lang="pt-BR" sz="1600" b="0" dirty="0">
            <a:solidFill>
              <a:schemeClr val="tx1"/>
            </a:solidFill>
          </a:endParaRPr>
        </a:p>
      </dgm:t>
    </dgm:pt>
    <dgm:pt modelId="{FB4F9C14-B6FA-455B-ACF9-DE604EC0E000}" type="parTrans" cxnId="{3741DA1C-29A1-41CC-86C6-14898CC653B7}">
      <dgm:prSet/>
      <dgm:spPr/>
      <dgm:t>
        <a:bodyPr/>
        <a:lstStyle/>
        <a:p>
          <a:endParaRPr lang="pt-BR" sz="1400"/>
        </a:p>
      </dgm:t>
    </dgm:pt>
    <dgm:pt modelId="{3023E31D-515F-4568-9EDD-A5EEFEFCA692}" type="sibTrans" cxnId="{3741DA1C-29A1-41CC-86C6-14898CC653B7}">
      <dgm:prSet/>
      <dgm:spPr/>
      <dgm:t>
        <a:bodyPr/>
        <a:lstStyle/>
        <a:p>
          <a:endParaRPr lang="pt-BR" sz="1400"/>
        </a:p>
      </dgm:t>
    </dgm:pt>
    <dgm:pt modelId="{ED0CE688-CA2A-46F1-A188-FA32D0A0A850}">
      <dgm:prSet custT="1"/>
      <dgm:spPr/>
      <dgm:t>
        <a:bodyPr/>
        <a:lstStyle/>
        <a:p>
          <a:pPr rtl="0"/>
          <a:r>
            <a:rPr lang="pt-BR" sz="1600" b="1" dirty="0" smtClean="0">
              <a:solidFill>
                <a:schemeClr val="tx1"/>
              </a:solidFill>
            </a:rPr>
            <a:t>Até </a:t>
          </a:r>
          <a:r>
            <a:rPr lang="pt-BR" sz="1600" b="1" dirty="0" err="1" smtClean="0">
              <a:solidFill>
                <a:schemeClr val="tx1"/>
              </a:solidFill>
            </a:rPr>
            <a:t>abr</a:t>
          </a:r>
          <a:r>
            <a:rPr lang="pt-BR" sz="1600" b="1" dirty="0" smtClean="0">
              <a:solidFill>
                <a:schemeClr val="tx1"/>
              </a:solidFill>
            </a:rPr>
            <a:t>/2016</a:t>
          </a:r>
          <a:endParaRPr lang="pt-BR" sz="1600" b="1" dirty="0">
            <a:solidFill>
              <a:schemeClr val="tx1"/>
            </a:solidFill>
          </a:endParaRPr>
        </a:p>
      </dgm:t>
    </dgm:pt>
    <dgm:pt modelId="{B660F8B7-5CA1-4567-8A36-BD9A100614B5}" type="parTrans" cxnId="{B06F0DFE-D879-4B9F-8AE7-817DC9EDE40B}">
      <dgm:prSet/>
      <dgm:spPr/>
      <dgm:t>
        <a:bodyPr/>
        <a:lstStyle/>
        <a:p>
          <a:endParaRPr lang="pt-BR" sz="1400"/>
        </a:p>
      </dgm:t>
    </dgm:pt>
    <dgm:pt modelId="{2CFEECC6-C419-4D8A-A2AC-659AF98E9482}" type="sibTrans" cxnId="{B06F0DFE-D879-4B9F-8AE7-817DC9EDE40B}">
      <dgm:prSet/>
      <dgm:spPr/>
      <dgm:t>
        <a:bodyPr/>
        <a:lstStyle/>
        <a:p>
          <a:endParaRPr lang="pt-BR" sz="1400"/>
        </a:p>
      </dgm:t>
    </dgm:pt>
    <dgm:pt modelId="{C2506A63-57E1-4918-91A4-FF1E2A0BCC8C}">
      <dgm:prSet custT="1"/>
      <dgm:spPr/>
      <dgm:t>
        <a:bodyPr/>
        <a:lstStyle/>
        <a:p>
          <a:pPr rtl="0"/>
          <a:r>
            <a:rPr lang="pt-BR" sz="1600" b="1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Até </a:t>
          </a:r>
          <a:r>
            <a:rPr lang="pt-BR" sz="1600" b="1" dirty="0" err="1" smtClean="0">
              <a:solidFill>
                <a:schemeClr val="tx1"/>
              </a:solidFill>
              <a:latin typeface="+mn-lt"/>
              <a:ea typeface="MS PGothic" pitchFamily="34" charset="-128"/>
            </a:rPr>
            <a:t>abr</a:t>
          </a:r>
          <a:r>
            <a:rPr lang="pt-BR" sz="1600" b="1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/2016:</a:t>
          </a:r>
          <a:endParaRPr lang="pt-BR" sz="1600" b="1" dirty="0">
            <a:solidFill>
              <a:schemeClr val="tx1"/>
            </a:solidFill>
          </a:endParaRPr>
        </a:p>
      </dgm:t>
    </dgm:pt>
    <dgm:pt modelId="{5D55B96C-6CD0-4D38-AF75-4B07B59B8D09}" type="parTrans" cxnId="{02A982E2-3EDA-4598-95CE-08302FF90905}">
      <dgm:prSet/>
      <dgm:spPr/>
      <dgm:t>
        <a:bodyPr/>
        <a:lstStyle/>
        <a:p>
          <a:endParaRPr lang="pt-BR" sz="1400"/>
        </a:p>
      </dgm:t>
    </dgm:pt>
    <dgm:pt modelId="{FCA3C96A-A0DC-4E08-B134-2235825EADC3}" type="sibTrans" cxnId="{02A982E2-3EDA-4598-95CE-08302FF90905}">
      <dgm:prSet/>
      <dgm:spPr/>
      <dgm:t>
        <a:bodyPr/>
        <a:lstStyle/>
        <a:p>
          <a:endParaRPr lang="pt-BR" sz="1400"/>
        </a:p>
      </dgm:t>
    </dgm:pt>
    <dgm:pt modelId="{0CFB37B2-19EA-4151-B58A-F68BE14ABF6F}">
      <dgm:prSet custT="1"/>
      <dgm:spPr/>
      <dgm:t>
        <a:bodyPr/>
        <a:lstStyle/>
        <a:p>
          <a:r>
            <a:rPr lang="pt-BR" sz="1600" b="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Novas instalações para embarque /desembarque de passageiros c/ pelo menos 26 pontes embarque adicionais e respectivas posições de pátio aeronaves Código C</a:t>
          </a:r>
          <a:endParaRPr lang="pt-BR" sz="1600" b="0" dirty="0">
            <a:solidFill>
              <a:schemeClr val="tx1"/>
            </a:solidFill>
            <a:latin typeface="+mn-lt"/>
            <a:ea typeface="MS PGothic" pitchFamily="34" charset="-128"/>
          </a:endParaRPr>
        </a:p>
      </dgm:t>
    </dgm:pt>
    <dgm:pt modelId="{3FF193E2-09DA-48A7-B496-4C073DC0093C}" type="parTrans" cxnId="{C96B5BF2-AAC9-45A9-850D-7BB7851D69AD}">
      <dgm:prSet/>
      <dgm:spPr/>
      <dgm:t>
        <a:bodyPr/>
        <a:lstStyle/>
        <a:p>
          <a:endParaRPr lang="pt-BR" sz="1400"/>
        </a:p>
      </dgm:t>
    </dgm:pt>
    <dgm:pt modelId="{E88E4A3D-5AE4-43B5-A46B-A0726CA78E4D}" type="sibTrans" cxnId="{C96B5BF2-AAC9-45A9-850D-7BB7851D69AD}">
      <dgm:prSet/>
      <dgm:spPr/>
      <dgm:t>
        <a:bodyPr/>
        <a:lstStyle/>
        <a:p>
          <a:endParaRPr lang="pt-BR" sz="1400"/>
        </a:p>
      </dgm:t>
    </dgm:pt>
    <dgm:pt modelId="{FA1DE9FE-8FE2-4560-855F-9912E9F309CA}">
      <dgm:prSet custT="1"/>
      <dgm:spPr/>
      <dgm:t>
        <a:bodyPr/>
        <a:lstStyle/>
        <a:p>
          <a:r>
            <a:rPr lang="pt-BR" sz="1600" b="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Pátio de Aeronaves para 21 aeronaves Código C adicionais</a:t>
          </a:r>
          <a:endParaRPr lang="pt-BR" sz="1600" b="0" dirty="0">
            <a:solidFill>
              <a:schemeClr val="tx1"/>
            </a:solidFill>
            <a:latin typeface="+mn-lt"/>
            <a:ea typeface="MS PGothic" pitchFamily="34" charset="-128"/>
          </a:endParaRPr>
        </a:p>
      </dgm:t>
    </dgm:pt>
    <dgm:pt modelId="{54C1DF13-44C2-4BDB-9989-DFBBFCE42EFD}" type="parTrans" cxnId="{16953EF0-A18E-48E7-B9C4-6ECD886CF8A8}">
      <dgm:prSet/>
      <dgm:spPr/>
      <dgm:t>
        <a:bodyPr/>
        <a:lstStyle/>
        <a:p>
          <a:endParaRPr lang="pt-BR" sz="1400"/>
        </a:p>
      </dgm:t>
    </dgm:pt>
    <dgm:pt modelId="{1C08DFC5-5662-43AA-91E2-8807912C27A2}" type="sibTrans" cxnId="{16953EF0-A18E-48E7-B9C4-6ECD886CF8A8}">
      <dgm:prSet/>
      <dgm:spPr/>
      <dgm:t>
        <a:bodyPr/>
        <a:lstStyle/>
        <a:p>
          <a:endParaRPr lang="pt-BR" sz="1400"/>
        </a:p>
      </dgm:t>
    </dgm:pt>
    <dgm:pt modelId="{C480C240-A3CD-454F-B21F-F7380F1B4A70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A partir de 215.100 movimentos/ano:</a:t>
          </a:r>
          <a:endParaRPr lang="pt-BR" sz="1600" b="1" dirty="0">
            <a:solidFill>
              <a:schemeClr val="tx1"/>
            </a:solidFill>
            <a:latin typeface="+mn-lt"/>
            <a:ea typeface="MS PGothic" pitchFamily="34" charset="-128"/>
          </a:endParaRPr>
        </a:p>
      </dgm:t>
    </dgm:pt>
    <dgm:pt modelId="{6960BB8F-A692-4263-9869-128AEDC89301}" type="parTrans" cxnId="{D8E40DA4-3A8C-4ECB-95E4-5E656C127013}">
      <dgm:prSet/>
      <dgm:spPr/>
      <dgm:t>
        <a:bodyPr/>
        <a:lstStyle/>
        <a:p>
          <a:endParaRPr lang="pt-BR" sz="1400"/>
        </a:p>
      </dgm:t>
    </dgm:pt>
    <dgm:pt modelId="{EA185C21-AA07-463E-979C-BC26E8647679}" type="sibTrans" cxnId="{D8E40DA4-3A8C-4ECB-95E4-5E656C127013}">
      <dgm:prSet/>
      <dgm:spPr/>
      <dgm:t>
        <a:bodyPr/>
        <a:lstStyle/>
        <a:p>
          <a:endParaRPr lang="pt-BR" sz="1400"/>
        </a:p>
      </dgm:t>
    </dgm:pt>
    <dgm:pt modelId="{7866BC48-B65E-4BC0-A598-C1EA6DDDD2F4}">
      <dgm:prSet custT="1"/>
      <dgm:spPr/>
      <dgm:t>
        <a:bodyPr/>
        <a:lstStyle/>
        <a:p>
          <a:r>
            <a:rPr lang="pt-BR" sz="1600" b="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Construção do Sistema de pistas independentes (a ser terminada antes de atingir 262.900 movimentos/ano  ou até dez/2021)</a:t>
          </a:r>
          <a:endParaRPr lang="pt-BR" sz="1600" b="0" dirty="0">
            <a:solidFill>
              <a:schemeClr val="tx1"/>
            </a:solidFill>
            <a:latin typeface="+mn-lt"/>
            <a:ea typeface="MS PGothic" pitchFamily="34" charset="-128"/>
          </a:endParaRPr>
        </a:p>
      </dgm:t>
    </dgm:pt>
    <dgm:pt modelId="{ABADAFAF-6123-4221-8254-7A476CD06F29}" type="parTrans" cxnId="{3A110581-9048-4E3B-B038-2260C6AA35D7}">
      <dgm:prSet/>
      <dgm:spPr/>
      <dgm:t>
        <a:bodyPr/>
        <a:lstStyle/>
        <a:p>
          <a:endParaRPr lang="pt-BR" sz="1400"/>
        </a:p>
      </dgm:t>
    </dgm:pt>
    <dgm:pt modelId="{55FE036B-B65D-4BB5-A70A-E456FB5F6FD8}" type="sibTrans" cxnId="{3A110581-9048-4E3B-B038-2260C6AA35D7}">
      <dgm:prSet/>
      <dgm:spPr/>
      <dgm:t>
        <a:bodyPr/>
        <a:lstStyle/>
        <a:p>
          <a:endParaRPr lang="pt-BR" sz="1400"/>
        </a:p>
      </dgm:t>
    </dgm:pt>
    <dgm:pt modelId="{5C5A3596-FF99-41CF-BEA8-2E2A0A4F4F32}">
      <dgm:prSet custT="1"/>
      <dgm:spPr/>
      <dgm:t>
        <a:bodyPr/>
        <a:lstStyle/>
        <a:p>
          <a:r>
            <a:rPr lang="pt-BR" sz="2000" b="1" dirty="0" smtClean="0">
              <a:solidFill>
                <a:schemeClr val="bg1"/>
              </a:solidFill>
              <a:latin typeface="+mn-lt"/>
              <a:ea typeface="MS PGothic" pitchFamily="34" charset="-128"/>
            </a:rPr>
            <a:t>Confins</a:t>
          </a:r>
          <a:endParaRPr lang="pt-BR" sz="2000" b="1" dirty="0">
            <a:solidFill>
              <a:schemeClr val="bg1"/>
            </a:solidFill>
            <a:latin typeface="+mn-lt"/>
            <a:ea typeface="MS PGothic" pitchFamily="34" charset="-128"/>
          </a:endParaRPr>
        </a:p>
      </dgm:t>
    </dgm:pt>
    <dgm:pt modelId="{CDA62253-38CD-48A3-8F12-D3A71D6AAB34}" type="parTrans" cxnId="{6E85608B-020D-455B-950B-5D852B6606EF}">
      <dgm:prSet/>
      <dgm:spPr/>
      <dgm:t>
        <a:bodyPr/>
        <a:lstStyle/>
        <a:p>
          <a:endParaRPr lang="pt-BR" sz="1400"/>
        </a:p>
      </dgm:t>
    </dgm:pt>
    <dgm:pt modelId="{CCC7DE6E-AC05-49FD-A530-7842585789B8}" type="sibTrans" cxnId="{6E85608B-020D-455B-950B-5D852B6606EF}">
      <dgm:prSet/>
      <dgm:spPr/>
      <dgm:t>
        <a:bodyPr/>
        <a:lstStyle/>
        <a:p>
          <a:endParaRPr lang="pt-BR" sz="1400"/>
        </a:p>
      </dgm:t>
    </dgm:pt>
    <dgm:pt modelId="{B61A14DE-2697-41BE-A0A3-E18AE27F2631}">
      <dgm:prSet custT="1"/>
      <dgm:spPr/>
      <dgm:t>
        <a:bodyPr/>
        <a:lstStyle/>
        <a:p>
          <a:r>
            <a:rPr lang="pt-BR" sz="1600" b="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Estacionamento de veículos até 2015 (mínimo 1.850 vagas)</a:t>
          </a:r>
          <a:endParaRPr lang="pt-BR" sz="1600" b="0" dirty="0">
            <a:solidFill>
              <a:schemeClr val="tx1"/>
            </a:solidFill>
            <a:latin typeface="+mn-lt"/>
            <a:ea typeface="MS PGothic" pitchFamily="34" charset="-128"/>
          </a:endParaRPr>
        </a:p>
      </dgm:t>
    </dgm:pt>
    <dgm:pt modelId="{95756D47-833E-487F-B29D-26E66E02B7AF}" type="parTrans" cxnId="{298BF36C-9AA3-4D1F-8D46-74E6C307648B}">
      <dgm:prSet/>
      <dgm:spPr/>
      <dgm:t>
        <a:bodyPr/>
        <a:lstStyle/>
        <a:p>
          <a:endParaRPr lang="pt-BR"/>
        </a:p>
      </dgm:t>
    </dgm:pt>
    <dgm:pt modelId="{991235FB-E046-43B9-8A35-DD9731F14340}" type="sibTrans" cxnId="{298BF36C-9AA3-4D1F-8D46-74E6C307648B}">
      <dgm:prSet/>
      <dgm:spPr/>
      <dgm:t>
        <a:bodyPr/>
        <a:lstStyle/>
        <a:p>
          <a:endParaRPr lang="pt-BR"/>
        </a:p>
      </dgm:t>
    </dgm:pt>
    <dgm:pt modelId="{84E2BDBD-54DA-4CF6-8FFC-00D1F0420E97}" type="pres">
      <dgm:prSet presAssocID="{052E88B2-F78C-4791-881B-D8E846BC306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A767549-3EA5-4396-8F21-EF0BAC345E29}" type="pres">
      <dgm:prSet presAssocID="{921D116C-A5CC-483F-A033-751B2E41AA35}" presName="linNode" presStyleCnt="0"/>
      <dgm:spPr/>
    </dgm:pt>
    <dgm:pt modelId="{F7D7F911-0C3E-452C-B25F-32ABE42A94C8}" type="pres">
      <dgm:prSet presAssocID="{921D116C-A5CC-483F-A033-751B2E41AA35}" presName="parentText" presStyleLbl="node1" presStyleIdx="0" presStyleCnt="2" custScaleX="5398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08E076F-B208-4C7C-88C0-84B738ADF497}" type="pres">
      <dgm:prSet presAssocID="{921D116C-A5CC-483F-A033-751B2E41AA35}" presName="descendantText" presStyleLbl="alignAccFollowNode1" presStyleIdx="0" presStyleCnt="2" custScaleX="123109" custScaleY="12513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94AC46F-0E54-4DE9-ADAA-46B45EAEEA4C}" type="pres">
      <dgm:prSet presAssocID="{3E38EAEE-8D60-43FF-98A5-427E959E351C}" presName="sp" presStyleCnt="0"/>
      <dgm:spPr/>
    </dgm:pt>
    <dgm:pt modelId="{6E17F721-AA5F-4A2D-994E-50825264D94E}" type="pres">
      <dgm:prSet presAssocID="{5C5A3596-FF99-41CF-BEA8-2E2A0A4F4F32}" presName="linNode" presStyleCnt="0"/>
      <dgm:spPr/>
    </dgm:pt>
    <dgm:pt modelId="{566249E9-1CA7-4879-ADAE-0A7836FC90D4}" type="pres">
      <dgm:prSet presAssocID="{5C5A3596-FF99-41CF-BEA8-2E2A0A4F4F32}" presName="parentText" presStyleLbl="node1" presStyleIdx="1" presStyleCnt="2" custScaleX="5398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2C0C20-AA68-4F99-BDC5-CD1CEFA828D4}" type="pres">
      <dgm:prSet presAssocID="{5C5A3596-FF99-41CF-BEA8-2E2A0A4F4F32}" presName="descendantText" presStyleLbl="alignAccFollowNode1" presStyleIdx="1" presStyleCnt="2" custScaleX="123109" custScaleY="12513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7967421-7339-4DF5-A6D1-DF0FC5CBCCBE}" type="presOf" srcId="{38BAFF65-ECE9-4B03-B1EE-D2590520F7FF}" destId="{4C2C0C20-AA68-4F99-BDC5-CD1CEFA828D4}" srcOrd="0" destOrd="2" presId="urn:microsoft.com/office/officeart/2005/8/layout/vList5"/>
    <dgm:cxn modelId="{E6CA5B66-E0F7-484B-857E-EA11F520FAEA}" srcId="{ED0CE688-CA2A-46F1-A188-FA32D0A0A850}" destId="{38BAFF65-ECE9-4B03-B1EE-D2590520F7FF}" srcOrd="1" destOrd="0" parTransId="{D2D48E42-878A-4720-88AC-639D96A6AA51}" sibTransId="{85C06FA8-4AB3-4F4D-A7D7-0AD6805C3E11}"/>
    <dgm:cxn modelId="{53011C79-858B-4938-9D56-DDCA10859F73}" type="presOf" srcId="{0CFB37B2-19EA-4151-B58A-F68BE14ABF6F}" destId="{908E076F-B208-4C7C-88C0-84B738ADF497}" srcOrd="0" destOrd="1" presId="urn:microsoft.com/office/officeart/2005/8/layout/vList5"/>
    <dgm:cxn modelId="{4770BA45-1267-4C92-803D-57A8A4B807D6}" type="presOf" srcId="{ED0CE688-CA2A-46F1-A188-FA32D0A0A850}" destId="{4C2C0C20-AA68-4F99-BDC5-CD1CEFA828D4}" srcOrd="0" destOrd="0" presId="urn:microsoft.com/office/officeart/2005/8/layout/vList5"/>
    <dgm:cxn modelId="{A83AE0EC-7526-4B31-AE4C-5F7C1DF63B34}" type="presOf" srcId="{5C5A3596-FF99-41CF-BEA8-2E2A0A4F4F32}" destId="{566249E9-1CA7-4879-ADAE-0A7836FC90D4}" srcOrd="0" destOrd="0" presId="urn:microsoft.com/office/officeart/2005/8/layout/vList5"/>
    <dgm:cxn modelId="{D597BBC1-1EEE-416A-9ADC-F0A9D13C1F3C}" type="presOf" srcId="{9E535677-FD58-4EF0-A55F-C8A3421A450A}" destId="{4C2C0C20-AA68-4F99-BDC5-CD1CEFA828D4}" srcOrd="0" destOrd="3" presId="urn:microsoft.com/office/officeart/2005/8/layout/vList5"/>
    <dgm:cxn modelId="{D8E40DA4-3A8C-4ECB-95E4-5E656C127013}" srcId="{921D116C-A5CC-483F-A033-751B2E41AA35}" destId="{C480C240-A3CD-454F-B21F-F7380F1B4A70}" srcOrd="1" destOrd="0" parTransId="{6960BB8F-A692-4263-9869-128AEDC89301}" sibTransId="{EA185C21-AA07-463E-979C-BC26E8647679}"/>
    <dgm:cxn modelId="{8076CCF1-CF4E-4529-9440-56A56756E9C7}" srcId="{5C5A3596-FF99-41CF-BEA8-2E2A0A4F4F32}" destId="{9E535677-FD58-4EF0-A55F-C8A3421A450A}" srcOrd="1" destOrd="0" parTransId="{0B903243-31CF-4F0C-BCC8-13E5A39D2922}" sibTransId="{B272779C-0298-4009-B9C2-78FBDCD62C80}"/>
    <dgm:cxn modelId="{3741DA1C-29A1-41CC-86C6-14898CC653B7}" srcId="{9E535677-FD58-4EF0-A55F-C8A3421A450A}" destId="{F2443910-2BC7-424D-AED1-9B6323059561}" srcOrd="0" destOrd="0" parTransId="{FB4F9C14-B6FA-455B-ACF9-DE604EC0E000}" sibTransId="{3023E31D-515F-4568-9EDD-A5EEFEFCA692}"/>
    <dgm:cxn modelId="{76C9FA8E-9F42-4482-A712-035B1D32E0F1}" type="presOf" srcId="{FA1DE9FE-8FE2-4560-855F-9912E9F309CA}" destId="{908E076F-B208-4C7C-88C0-84B738ADF497}" srcOrd="0" destOrd="2" presId="urn:microsoft.com/office/officeart/2005/8/layout/vList5"/>
    <dgm:cxn modelId="{16953EF0-A18E-48E7-B9C4-6ECD886CF8A8}" srcId="{C2506A63-57E1-4918-91A4-FF1E2A0BCC8C}" destId="{FA1DE9FE-8FE2-4560-855F-9912E9F309CA}" srcOrd="1" destOrd="0" parTransId="{54C1DF13-44C2-4BDB-9989-DFBBFCE42EFD}" sibTransId="{1C08DFC5-5662-43AA-91E2-8807912C27A2}"/>
    <dgm:cxn modelId="{B2B626EB-F4B8-4251-86A3-E6FC1AE41871}" type="presOf" srcId="{052E88B2-F78C-4791-881B-D8E846BC3069}" destId="{84E2BDBD-54DA-4CF6-8FFC-00D1F0420E97}" srcOrd="0" destOrd="0" presId="urn:microsoft.com/office/officeart/2005/8/layout/vList5"/>
    <dgm:cxn modelId="{298BF36C-9AA3-4D1F-8D46-74E6C307648B}" srcId="{C2506A63-57E1-4918-91A4-FF1E2A0BCC8C}" destId="{B61A14DE-2697-41BE-A0A3-E18AE27F2631}" srcOrd="2" destOrd="0" parTransId="{95756D47-833E-487F-B29D-26E66E02B7AF}" sibTransId="{991235FB-E046-43B9-8A35-DD9731F14340}"/>
    <dgm:cxn modelId="{12D65A06-3B53-4669-97F1-7A81C2FFC4E9}" srcId="{ED0CE688-CA2A-46F1-A188-FA32D0A0A850}" destId="{872DD662-294B-404E-BF88-B555B1887C24}" srcOrd="0" destOrd="0" parTransId="{2237AC48-AF20-4769-A34C-DCFFD73D4B64}" sibTransId="{ACD991FD-50DA-4FF6-9CFD-CBA39193C995}"/>
    <dgm:cxn modelId="{3A110581-9048-4E3B-B038-2260C6AA35D7}" srcId="{C480C240-A3CD-454F-B21F-F7380F1B4A70}" destId="{7866BC48-B65E-4BC0-A598-C1EA6DDDD2F4}" srcOrd="0" destOrd="0" parTransId="{ABADAFAF-6123-4221-8254-7A476CD06F29}" sibTransId="{55FE036B-B65D-4BB5-A70A-E456FB5F6FD8}"/>
    <dgm:cxn modelId="{02A982E2-3EDA-4598-95CE-08302FF90905}" srcId="{921D116C-A5CC-483F-A033-751B2E41AA35}" destId="{C2506A63-57E1-4918-91A4-FF1E2A0BCC8C}" srcOrd="0" destOrd="0" parTransId="{5D55B96C-6CD0-4D38-AF75-4B07B59B8D09}" sibTransId="{FCA3C96A-A0DC-4E08-B134-2235825EADC3}"/>
    <dgm:cxn modelId="{6E85608B-020D-455B-950B-5D852B6606EF}" srcId="{052E88B2-F78C-4791-881B-D8E846BC3069}" destId="{5C5A3596-FF99-41CF-BEA8-2E2A0A4F4F32}" srcOrd="1" destOrd="0" parTransId="{CDA62253-38CD-48A3-8F12-D3A71D6AAB34}" sibTransId="{CCC7DE6E-AC05-49FD-A530-7842585789B8}"/>
    <dgm:cxn modelId="{AA9FFBB5-256F-4AD0-BFC6-B1E591379323}" type="presOf" srcId="{F2443910-2BC7-424D-AED1-9B6323059561}" destId="{4C2C0C20-AA68-4F99-BDC5-CD1CEFA828D4}" srcOrd="0" destOrd="4" presId="urn:microsoft.com/office/officeart/2005/8/layout/vList5"/>
    <dgm:cxn modelId="{75D464E8-DD4D-455D-B9B1-4E1E53C6E9EB}" type="presOf" srcId="{921D116C-A5CC-483F-A033-751B2E41AA35}" destId="{F7D7F911-0C3E-452C-B25F-32ABE42A94C8}" srcOrd="0" destOrd="0" presId="urn:microsoft.com/office/officeart/2005/8/layout/vList5"/>
    <dgm:cxn modelId="{7F34B279-F3B9-417B-AEE4-5B5D4D9EDB84}" type="presOf" srcId="{C2506A63-57E1-4918-91A4-FF1E2A0BCC8C}" destId="{908E076F-B208-4C7C-88C0-84B738ADF497}" srcOrd="0" destOrd="0" presId="urn:microsoft.com/office/officeart/2005/8/layout/vList5"/>
    <dgm:cxn modelId="{137570A0-2976-44B0-936C-2CDACA2CEF96}" type="presOf" srcId="{C480C240-A3CD-454F-B21F-F7380F1B4A70}" destId="{908E076F-B208-4C7C-88C0-84B738ADF497}" srcOrd="0" destOrd="4" presId="urn:microsoft.com/office/officeart/2005/8/layout/vList5"/>
    <dgm:cxn modelId="{E9705F60-6706-406D-B689-E34679FF62C5}" type="presOf" srcId="{872DD662-294B-404E-BF88-B555B1887C24}" destId="{4C2C0C20-AA68-4F99-BDC5-CD1CEFA828D4}" srcOrd="0" destOrd="1" presId="urn:microsoft.com/office/officeart/2005/8/layout/vList5"/>
    <dgm:cxn modelId="{B06F0DFE-D879-4B9F-8AE7-817DC9EDE40B}" srcId="{5C5A3596-FF99-41CF-BEA8-2E2A0A4F4F32}" destId="{ED0CE688-CA2A-46F1-A188-FA32D0A0A850}" srcOrd="0" destOrd="0" parTransId="{B660F8B7-5CA1-4567-8A36-BD9A100614B5}" sibTransId="{2CFEECC6-C419-4D8A-A2AC-659AF98E9482}"/>
    <dgm:cxn modelId="{AD925392-C7EB-411B-A5D5-F13301AF0491}" srcId="{052E88B2-F78C-4791-881B-D8E846BC3069}" destId="{921D116C-A5CC-483F-A033-751B2E41AA35}" srcOrd="0" destOrd="0" parTransId="{3B8127DC-8FEA-40DD-BFB3-2AB02CB67B9B}" sibTransId="{3E38EAEE-8D60-43FF-98A5-427E959E351C}"/>
    <dgm:cxn modelId="{C96B5BF2-AAC9-45A9-850D-7BB7851D69AD}" srcId="{C2506A63-57E1-4918-91A4-FF1E2A0BCC8C}" destId="{0CFB37B2-19EA-4151-B58A-F68BE14ABF6F}" srcOrd="0" destOrd="0" parTransId="{3FF193E2-09DA-48A7-B496-4C073DC0093C}" sibTransId="{E88E4A3D-5AE4-43B5-A46B-A0726CA78E4D}"/>
    <dgm:cxn modelId="{8786ACF2-3D70-40A6-BEA3-3EB53541A748}" type="presOf" srcId="{7866BC48-B65E-4BC0-A598-C1EA6DDDD2F4}" destId="{908E076F-B208-4C7C-88C0-84B738ADF497}" srcOrd="0" destOrd="5" presId="urn:microsoft.com/office/officeart/2005/8/layout/vList5"/>
    <dgm:cxn modelId="{4E8C99F0-71CA-4ED6-81B4-1F127E6F3FCA}" type="presOf" srcId="{B61A14DE-2697-41BE-A0A3-E18AE27F2631}" destId="{908E076F-B208-4C7C-88C0-84B738ADF497}" srcOrd="0" destOrd="3" presId="urn:microsoft.com/office/officeart/2005/8/layout/vList5"/>
    <dgm:cxn modelId="{A4223C80-0525-4622-B310-DCE02F237566}" type="presParOf" srcId="{84E2BDBD-54DA-4CF6-8FFC-00D1F0420E97}" destId="{FA767549-3EA5-4396-8F21-EF0BAC345E29}" srcOrd="0" destOrd="0" presId="urn:microsoft.com/office/officeart/2005/8/layout/vList5"/>
    <dgm:cxn modelId="{50A2C598-5778-4D83-B94A-4040C4414C35}" type="presParOf" srcId="{FA767549-3EA5-4396-8F21-EF0BAC345E29}" destId="{F7D7F911-0C3E-452C-B25F-32ABE42A94C8}" srcOrd="0" destOrd="0" presId="urn:microsoft.com/office/officeart/2005/8/layout/vList5"/>
    <dgm:cxn modelId="{1437416D-AE5D-4C50-8556-BEC3F9B749EF}" type="presParOf" srcId="{FA767549-3EA5-4396-8F21-EF0BAC345E29}" destId="{908E076F-B208-4C7C-88C0-84B738ADF497}" srcOrd="1" destOrd="0" presId="urn:microsoft.com/office/officeart/2005/8/layout/vList5"/>
    <dgm:cxn modelId="{DACDD332-A3C8-48EA-B1E6-421B76750315}" type="presParOf" srcId="{84E2BDBD-54DA-4CF6-8FFC-00D1F0420E97}" destId="{E94AC46F-0E54-4DE9-ADAA-46B45EAEEA4C}" srcOrd="1" destOrd="0" presId="urn:microsoft.com/office/officeart/2005/8/layout/vList5"/>
    <dgm:cxn modelId="{650B5BE9-8BF4-41FA-A4E7-32540F136BCE}" type="presParOf" srcId="{84E2BDBD-54DA-4CF6-8FFC-00D1F0420E97}" destId="{6E17F721-AA5F-4A2D-994E-50825264D94E}" srcOrd="2" destOrd="0" presId="urn:microsoft.com/office/officeart/2005/8/layout/vList5"/>
    <dgm:cxn modelId="{23152324-5C24-4D36-BF10-977756EA9734}" type="presParOf" srcId="{6E17F721-AA5F-4A2D-994E-50825264D94E}" destId="{566249E9-1CA7-4879-ADAE-0A7836FC90D4}" srcOrd="0" destOrd="0" presId="urn:microsoft.com/office/officeart/2005/8/layout/vList5"/>
    <dgm:cxn modelId="{C7E18EE0-5B82-4DFC-8CD6-BDAA70CB9691}" type="presParOf" srcId="{6E17F721-AA5F-4A2D-994E-50825264D94E}" destId="{4C2C0C20-AA68-4F99-BDC5-CD1CEFA828D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D29CB1-8226-4F46-BAC3-A8529A13D4A6}" type="doc">
      <dgm:prSet loTypeId="urn:microsoft.com/office/officeart/2005/8/layout/pList2#1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74A13935-D1C1-447A-806F-F7EDFD6D00B1}">
      <dgm:prSet custT="1"/>
      <dgm:spPr/>
      <dgm:t>
        <a:bodyPr anchor="ctr" anchorCtr="0"/>
        <a:lstStyle/>
        <a:p>
          <a:pPr rtl="0"/>
          <a:r>
            <a:rPr lang="pt-BR" sz="2000" dirty="0" smtClean="0"/>
            <a:t>Aeroporto Internacional do Galeão - RJ </a:t>
          </a:r>
        </a:p>
      </dgm:t>
    </dgm:pt>
    <dgm:pt modelId="{49C38428-DE4F-4CAC-8F38-30BC0F648E47}" type="parTrans" cxnId="{6E785855-1703-4A0D-9938-1CEC3F42A5D5}">
      <dgm:prSet/>
      <dgm:spPr/>
      <dgm:t>
        <a:bodyPr/>
        <a:lstStyle/>
        <a:p>
          <a:endParaRPr lang="pt-BR"/>
        </a:p>
      </dgm:t>
    </dgm:pt>
    <dgm:pt modelId="{52D828C8-220D-490E-9163-1AEF3070D763}" type="sibTrans" cxnId="{6E785855-1703-4A0D-9938-1CEC3F42A5D5}">
      <dgm:prSet/>
      <dgm:spPr/>
      <dgm:t>
        <a:bodyPr/>
        <a:lstStyle/>
        <a:p>
          <a:endParaRPr lang="pt-BR"/>
        </a:p>
      </dgm:t>
    </dgm:pt>
    <dgm:pt modelId="{579658B4-DA58-443C-8F60-68BFCED9F7EA}">
      <dgm:prSet custT="1"/>
      <dgm:spPr/>
      <dgm:t>
        <a:bodyPr anchor="ctr" anchorCtr="0"/>
        <a:lstStyle/>
        <a:p>
          <a:pPr rtl="0"/>
          <a:r>
            <a:rPr lang="pt-BR" sz="2000" dirty="0" smtClean="0"/>
            <a:t>Aeroporto Internacional de Confins - MG</a:t>
          </a:r>
        </a:p>
      </dgm:t>
    </dgm:pt>
    <dgm:pt modelId="{AC39C9B2-4214-4129-B7E1-CD84EC510A38}" type="parTrans" cxnId="{C62BEA38-B3B9-44EB-97ED-9FA2140C9CD7}">
      <dgm:prSet/>
      <dgm:spPr/>
      <dgm:t>
        <a:bodyPr/>
        <a:lstStyle/>
        <a:p>
          <a:endParaRPr lang="pt-BR"/>
        </a:p>
      </dgm:t>
    </dgm:pt>
    <dgm:pt modelId="{E58E8254-EE13-4FC3-A963-B2BC7D95A611}" type="sibTrans" cxnId="{C62BEA38-B3B9-44EB-97ED-9FA2140C9CD7}">
      <dgm:prSet/>
      <dgm:spPr/>
      <dgm:t>
        <a:bodyPr/>
        <a:lstStyle/>
        <a:p>
          <a:endParaRPr lang="pt-BR"/>
        </a:p>
      </dgm:t>
    </dgm:pt>
    <dgm:pt modelId="{D9BCA18C-ADCB-4EE1-85FA-1022DE122612}" type="pres">
      <dgm:prSet presAssocID="{2BD29CB1-8226-4F46-BAC3-A8529A13D4A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4AA52DD-FA5A-43AC-A051-6996F7A5C9CC}" type="pres">
      <dgm:prSet presAssocID="{2BD29CB1-8226-4F46-BAC3-A8529A13D4A6}" presName="bkgdShp" presStyleLbl="alignAccFollowNode1" presStyleIdx="0" presStyleCnt="1" custScaleY="133918" custLinFactNeighborY="14160"/>
      <dgm:spPr/>
    </dgm:pt>
    <dgm:pt modelId="{807845A1-4FEF-41EA-A22D-D7489E78D767}" type="pres">
      <dgm:prSet presAssocID="{2BD29CB1-8226-4F46-BAC3-A8529A13D4A6}" presName="linComp" presStyleCnt="0"/>
      <dgm:spPr/>
    </dgm:pt>
    <dgm:pt modelId="{8955AE48-CC32-4D30-AB2B-67A64E8619FC}" type="pres">
      <dgm:prSet presAssocID="{74A13935-D1C1-447A-806F-F7EDFD6D00B1}" presName="compNode" presStyleCnt="0"/>
      <dgm:spPr/>
    </dgm:pt>
    <dgm:pt modelId="{FFE03E5E-F993-46CD-B961-C090E5817947}" type="pres">
      <dgm:prSet presAssocID="{74A13935-D1C1-447A-806F-F7EDFD6D00B1}" presName="node" presStyleLbl="node1" presStyleIdx="0" presStyleCnt="2" custScaleY="5839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4891B08-7957-4C73-8207-3D9AEC5844A6}" type="pres">
      <dgm:prSet presAssocID="{74A13935-D1C1-447A-806F-F7EDFD6D00B1}" presName="invisiNode" presStyleLbl="node1" presStyleIdx="0" presStyleCnt="2"/>
      <dgm:spPr/>
    </dgm:pt>
    <dgm:pt modelId="{E4CFCCAB-1722-40AD-BDA0-7772C621B1CB}" type="pres">
      <dgm:prSet presAssocID="{74A13935-D1C1-447A-806F-F7EDFD6D00B1}" presName="imagNode" presStyleLbl="fgImgPlace1" presStyleIdx="0" presStyleCnt="2" custScaleY="140085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EE68AF6A-4FFB-43E1-B646-CF79D58ACACE}" type="pres">
      <dgm:prSet presAssocID="{52D828C8-220D-490E-9163-1AEF3070D763}" presName="sibTrans" presStyleLbl="sibTrans2D1" presStyleIdx="0" presStyleCnt="0"/>
      <dgm:spPr/>
      <dgm:t>
        <a:bodyPr/>
        <a:lstStyle/>
        <a:p>
          <a:endParaRPr lang="pt-BR"/>
        </a:p>
      </dgm:t>
    </dgm:pt>
    <dgm:pt modelId="{7EBF09CE-0D58-4E0C-A7B4-87FDAB33CF1C}" type="pres">
      <dgm:prSet presAssocID="{579658B4-DA58-443C-8F60-68BFCED9F7EA}" presName="compNode" presStyleCnt="0"/>
      <dgm:spPr/>
    </dgm:pt>
    <dgm:pt modelId="{7B3EEF43-5A16-40FE-9624-4EA3992F3AC4}" type="pres">
      <dgm:prSet presAssocID="{579658B4-DA58-443C-8F60-68BFCED9F7EA}" presName="node" presStyleLbl="node1" presStyleIdx="1" presStyleCnt="2" custScaleY="5839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331EF1E-69F0-4804-92F2-C805263DE723}" type="pres">
      <dgm:prSet presAssocID="{579658B4-DA58-443C-8F60-68BFCED9F7EA}" presName="invisiNode" presStyleLbl="node1" presStyleIdx="1" presStyleCnt="2"/>
      <dgm:spPr/>
    </dgm:pt>
    <dgm:pt modelId="{49CEB05B-7D63-4558-81DE-362BF55D55AA}" type="pres">
      <dgm:prSet presAssocID="{579658B4-DA58-443C-8F60-68BFCED9F7EA}" presName="imagNode" presStyleLbl="fgImgPlace1" presStyleIdx="1" presStyleCnt="2" custScaleY="140085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</dgm:ptLst>
  <dgm:cxnLst>
    <dgm:cxn modelId="{6E785855-1703-4A0D-9938-1CEC3F42A5D5}" srcId="{2BD29CB1-8226-4F46-BAC3-A8529A13D4A6}" destId="{74A13935-D1C1-447A-806F-F7EDFD6D00B1}" srcOrd="0" destOrd="0" parTransId="{49C38428-DE4F-4CAC-8F38-30BC0F648E47}" sibTransId="{52D828C8-220D-490E-9163-1AEF3070D763}"/>
    <dgm:cxn modelId="{C62BEA38-B3B9-44EB-97ED-9FA2140C9CD7}" srcId="{2BD29CB1-8226-4F46-BAC3-A8529A13D4A6}" destId="{579658B4-DA58-443C-8F60-68BFCED9F7EA}" srcOrd="1" destOrd="0" parTransId="{AC39C9B2-4214-4129-B7E1-CD84EC510A38}" sibTransId="{E58E8254-EE13-4FC3-A963-B2BC7D95A611}"/>
    <dgm:cxn modelId="{DDED3E61-E7CC-46CC-A2AD-9ADB7CCB7537}" type="presOf" srcId="{579658B4-DA58-443C-8F60-68BFCED9F7EA}" destId="{7B3EEF43-5A16-40FE-9624-4EA3992F3AC4}" srcOrd="0" destOrd="0" presId="urn:microsoft.com/office/officeart/2005/8/layout/pList2#1"/>
    <dgm:cxn modelId="{A0EDE8AA-07CB-4820-9798-798E724C25C5}" type="presOf" srcId="{74A13935-D1C1-447A-806F-F7EDFD6D00B1}" destId="{FFE03E5E-F993-46CD-B961-C090E5817947}" srcOrd="0" destOrd="0" presId="urn:microsoft.com/office/officeart/2005/8/layout/pList2#1"/>
    <dgm:cxn modelId="{FBAF36CA-F6E7-417A-8DDB-592FF3FED5B8}" type="presOf" srcId="{2BD29CB1-8226-4F46-BAC3-A8529A13D4A6}" destId="{D9BCA18C-ADCB-4EE1-85FA-1022DE122612}" srcOrd="0" destOrd="0" presId="urn:microsoft.com/office/officeart/2005/8/layout/pList2#1"/>
    <dgm:cxn modelId="{EB7470CC-75E2-4671-A42F-20E354D6365E}" type="presOf" srcId="{52D828C8-220D-490E-9163-1AEF3070D763}" destId="{EE68AF6A-4FFB-43E1-B646-CF79D58ACACE}" srcOrd="0" destOrd="0" presId="urn:microsoft.com/office/officeart/2005/8/layout/pList2#1"/>
    <dgm:cxn modelId="{D0CB4484-3004-4BFE-AC46-4676E6061EF7}" type="presParOf" srcId="{D9BCA18C-ADCB-4EE1-85FA-1022DE122612}" destId="{F4AA52DD-FA5A-43AC-A051-6996F7A5C9CC}" srcOrd="0" destOrd="0" presId="urn:microsoft.com/office/officeart/2005/8/layout/pList2#1"/>
    <dgm:cxn modelId="{9ED17A5A-F575-41FC-86F1-E96E154571F6}" type="presParOf" srcId="{D9BCA18C-ADCB-4EE1-85FA-1022DE122612}" destId="{807845A1-4FEF-41EA-A22D-D7489E78D767}" srcOrd="1" destOrd="0" presId="urn:microsoft.com/office/officeart/2005/8/layout/pList2#1"/>
    <dgm:cxn modelId="{CBBD7822-1E72-4A03-B58F-DE252ABC1DD1}" type="presParOf" srcId="{807845A1-4FEF-41EA-A22D-D7489E78D767}" destId="{8955AE48-CC32-4D30-AB2B-67A64E8619FC}" srcOrd="0" destOrd="0" presId="urn:microsoft.com/office/officeart/2005/8/layout/pList2#1"/>
    <dgm:cxn modelId="{C059636C-9A72-4CFE-9CE0-04B388CC64A9}" type="presParOf" srcId="{8955AE48-CC32-4D30-AB2B-67A64E8619FC}" destId="{FFE03E5E-F993-46CD-B961-C090E5817947}" srcOrd="0" destOrd="0" presId="urn:microsoft.com/office/officeart/2005/8/layout/pList2#1"/>
    <dgm:cxn modelId="{CA1238DE-AD9B-4F1E-A432-FEE653F4925D}" type="presParOf" srcId="{8955AE48-CC32-4D30-AB2B-67A64E8619FC}" destId="{84891B08-7957-4C73-8207-3D9AEC5844A6}" srcOrd="1" destOrd="0" presId="urn:microsoft.com/office/officeart/2005/8/layout/pList2#1"/>
    <dgm:cxn modelId="{CE832016-EC5E-4328-B78D-0E2642258A0E}" type="presParOf" srcId="{8955AE48-CC32-4D30-AB2B-67A64E8619FC}" destId="{E4CFCCAB-1722-40AD-BDA0-7772C621B1CB}" srcOrd="2" destOrd="0" presId="urn:microsoft.com/office/officeart/2005/8/layout/pList2#1"/>
    <dgm:cxn modelId="{59995A63-48B3-46EF-837D-57D8D9A0E5CF}" type="presParOf" srcId="{807845A1-4FEF-41EA-A22D-D7489E78D767}" destId="{EE68AF6A-4FFB-43E1-B646-CF79D58ACACE}" srcOrd="1" destOrd="0" presId="urn:microsoft.com/office/officeart/2005/8/layout/pList2#1"/>
    <dgm:cxn modelId="{A37DF753-4244-4659-9858-8998D312687E}" type="presParOf" srcId="{807845A1-4FEF-41EA-A22D-D7489E78D767}" destId="{7EBF09CE-0D58-4E0C-A7B4-87FDAB33CF1C}" srcOrd="2" destOrd="0" presId="urn:microsoft.com/office/officeart/2005/8/layout/pList2#1"/>
    <dgm:cxn modelId="{F5DADBF8-28ED-4DDF-A92D-6EA2F23F7CC1}" type="presParOf" srcId="{7EBF09CE-0D58-4E0C-A7B4-87FDAB33CF1C}" destId="{7B3EEF43-5A16-40FE-9624-4EA3992F3AC4}" srcOrd="0" destOrd="0" presId="urn:microsoft.com/office/officeart/2005/8/layout/pList2#1"/>
    <dgm:cxn modelId="{83CBB863-E518-4BE6-8DBA-1BFA30995E8C}" type="presParOf" srcId="{7EBF09CE-0D58-4E0C-A7B4-87FDAB33CF1C}" destId="{C331EF1E-69F0-4804-92F2-C805263DE723}" srcOrd="1" destOrd="0" presId="urn:microsoft.com/office/officeart/2005/8/layout/pList2#1"/>
    <dgm:cxn modelId="{83D01050-BAD1-4E33-AE7A-4E9CAD7FCCCE}" type="presParOf" srcId="{7EBF09CE-0D58-4E0C-A7B4-87FDAB33CF1C}" destId="{49CEB05B-7D63-4558-81DE-362BF55D55AA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50A8C72-FF91-4C9F-8D56-724A460ECC40}" type="doc">
      <dgm:prSet loTypeId="urn:microsoft.com/office/officeart/2005/8/layout/vList2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527C921D-D16D-4B3D-BB0E-E51B7501FDD2}">
      <dgm:prSet phldrT="[Texto]" custT="1"/>
      <dgm:spPr/>
      <dgm:t>
        <a:bodyPr/>
        <a:lstStyle/>
        <a:p>
          <a:pPr algn="ctr" rtl="0"/>
          <a:r>
            <a:rPr lang="pt-BR" sz="2200" b="1" dirty="0" smtClean="0"/>
            <a:t>Concessão para ampliação, manutenção e exploração dos Aeroportos</a:t>
          </a:r>
          <a:endParaRPr lang="pt-BR" sz="2200" b="1" dirty="0"/>
        </a:p>
      </dgm:t>
    </dgm:pt>
    <dgm:pt modelId="{5C47CC5A-D7C1-4AD9-9E53-68E063647A29}" type="parTrans" cxnId="{A20FBB26-7412-49AC-9163-C1BD45BE0D99}">
      <dgm:prSet/>
      <dgm:spPr/>
      <dgm:t>
        <a:bodyPr/>
        <a:lstStyle/>
        <a:p>
          <a:endParaRPr lang="pt-BR"/>
        </a:p>
      </dgm:t>
    </dgm:pt>
    <dgm:pt modelId="{C4375F12-C340-4BB5-8B3B-F9D61440BD2C}" type="sibTrans" cxnId="{A20FBB26-7412-49AC-9163-C1BD45BE0D99}">
      <dgm:prSet/>
      <dgm:spPr/>
      <dgm:t>
        <a:bodyPr/>
        <a:lstStyle/>
        <a:p>
          <a:endParaRPr lang="pt-BR"/>
        </a:p>
      </dgm:t>
    </dgm:pt>
    <dgm:pt modelId="{86F9CE60-E1C0-4A51-A494-29400EC7A706}" type="pres">
      <dgm:prSet presAssocID="{750A8C72-FF91-4C9F-8D56-724A460ECC4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5404A9F-9B14-44DE-9C54-CD1525285498}" type="pres">
      <dgm:prSet presAssocID="{527C921D-D16D-4B3D-BB0E-E51B7501FDD2}" presName="parentText" presStyleLbl="node1" presStyleIdx="0" presStyleCnt="1" custLinFactNeighborY="-4766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CE46335-C59D-405C-8A6F-6BC96F330E6C}" type="presOf" srcId="{750A8C72-FF91-4C9F-8D56-724A460ECC40}" destId="{86F9CE60-E1C0-4A51-A494-29400EC7A706}" srcOrd="0" destOrd="0" presId="urn:microsoft.com/office/officeart/2005/8/layout/vList2"/>
    <dgm:cxn modelId="{A20FBB26-7412-49AC-9163-C1BD45BE0D99}" srcId="{750A8C72-FF91-4C9F-8D56-724A460ECC40}" destId="{527C921D-D16D-4B3D-BB0E-E51B7501FDD2}" srcOrd="0" destOrd="0" parTransId="{5C47CC5A-D7C1-4AD9-9E53-68E063647A29}" sibTransId="{C4375F12-C340-4BB5-8B3B-F9D61440BD2C}"/>
    <dgm:cxn modelId="{0244E20D-A750-4BBB-A2D0-1B7172AFD308}" type="presOf" srcId="{527C921D-D16D-4B3D-BB0E-E51B7501FDD2}" destId="{D5404A9F-9B14-44DE-9C54-CD1525285498}" srcOrd="0" destOrd="0" presId="urn:microsoft.com/office/officeart/2005/8/layout/vList2"/>
    <dgm:cxn modelId="{B81246E9-3CAF-4014-A54B-1FF13A7E01B6}" type="presParOf" srcId="{86F9CE60-E1C0-4A51-A494-29400EC7A706}" destId="{D5404A9F-9B14-44DE-9C54-CD152528549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FA96F8A-5593-4327-AADC-41B636556B57}" type="doc">
      <dgm:prSet loTypeId="urn:microsoft.com/office/officeart/2005/8/layout/hList7#1" loCatId="list" qsTypeId="urn:microsoft.com/office/officeart/2005/8/quickstyle/simple1" qsCatId="simple" csTypeId="urn:microsoft.com/office/officeart/2005/8/colors/accent1_3" csCatId="accent1" phldr="1"/>
      <dgm:spPr/>
    </dgm:pt>
    <dgm:pt modelId="{5628ACAC-0D8C-44DE-A10B-63EE5AEBCE9E}">
      <dgm:prSet phldrT="[Texto]"/>
      <dgm:spPr/>
      <dgm:t>
        <a:bodyPr/>
        <a:lstStyle/>
        <a:p>
          <a:r>
            <a:rPr lang="pt-BR" dirty="0" smtClean="0"/>
            <a:t>EVTEA</a:t>
          </a:r>
          <a:endParaRPr lang="pt-BR" dirty="0"/>
        </a:p>
      </dgm:t>
    </dgm:pt>
    <dgm:pt modelId="{77FEAC61-C507-469D-A695-DBD77A39D6B7}" type="parTrans" cxnId="{648E9BF3-F26B-4C32-A2C2-185BA2E8418D}">
      <dgm:prSet/>
      <dgm:spPr/>
      <dgm:t>
        <a:bodyPr/>
        <a:lstStyle/>
        <a:p>
          <a:endParaRPr lang="pt-BR"/>
        </a:p>
      </dgm:t>
    </dgm:pt>
    <dgm:pt modelId="{16DC22BD-B682-499F-90C4-0C6448C67B85}" type="sibTrans" cxnId="{648E9BF3-F26B-4C32-A2C2-185BA2E8418D}">
      <dgm:prSet/>
      <dgm:spPr/>
      <dgm:t>
        <a:bodyPr/>
        <a:lstStyle/>
        <a:p>
          <a:endParaRPr lang="pt-BR"/>
        </a:p>
      </dgm:t>
    </dgm:pt>
    <dgm:pt modelId="{3FCC4B65-91FB-4DB7-828B-04B27608AEBF}">
      <dgm:prSet phldrT="[Texto]"/>
      <dgm:spPr/>
      <dgm:t>
        <a:bodyPr/>
        <a:lstStyle/>
        <a:p>
          <a:r>
            <a:rPr lang="pt-BR" dirty="0" smtClean="0"/>
            <a:t>Licitação</a:t>
          </a:r>
        </a:p>
        <a:p>
          <a:r>
            <a:rPr lang="pt-BR" dirty="0" smtClean="0"/>
            <a:t>EDITAL</a:t>
          </a:r>
          <a:endParaRPr lang="pt-BR" dirty="0"/>
        </a:p>
      </dgm:t>
    </dgm:pt>
    <dgm:pt modelId="{192DFD91-6CB2-479F-ADB2-88FB744AC602}" type="parTrans" cxnId="{D0899AFB-9722-44C8-8C73-54A7A146F5FB}">
      <dgm:prSet/>
      <dgm:spPr/>
      <dgm:t>
        <a:bodyPr/>
        <a:lstStyle/>
        <a:p>
          <a:endParaRPr lang="pt-BR"/>
        </a:p>
      </dgm:t>
    </dgm:pt>
    <dgm:pt modelId="{351F7B6C-D5F3-4F06-ADCC-FE0C7B32E83A}" type="sibTrans" cxnId="{D0899AFB-9722-44C8-8C73-54A7A146F5FB}">
      <dgm:prSet/>
      <dgm:spPr/>
      <dgm:t>
        <a:bodyPr/>
        <a:lstStyle/>
        <a:p>
          <a:endParaRPr lang="pt-BR"/>
        </a:p>
      </dgm:t>
    </dgm:pt>
    <dgm:pt modelId="{AB1D3701-1ACF-4D72-A4F3-A35DD8F7E48F}">
      <dgm:prSet phldrT="[Texto]"/>
      <dgm:spPr/>
      <dgm:t>
        <a:bodyPr/>
        <a:lstStyle/>
        <a:p>
          <a:r>
            <a:rPr lang="pt-BR" dirty="0" smtClean="0"/>
            <a:t>CONTRATO</a:t>
          </a:r>
          <a:endParaRPr lang="pt-BR" dirty="0"/>
        </a:p>
      </dgm:t>
    </dgm:pt>
    <dgm:pt modelId="{AB696997-BF29-498A-910F-1FB35A7D723C}" type="parTrans" cxnId="{E0D7BBF3-431C-4A73-93C9-C8883BA6CF07}">
      <dgm:prSet/>
      <dgm:spPr/>
      <dgm:t>
        <a:bodyPr/>
        <a:lstStyle/>
        <a:p>
          <a:endParaRPr lang="pt-BR"/>
        </a:p>
      </dgm:t>
    </dgm:pt>
    <dgm:pt modelId="{1C32D432-9060-43C0-A0EF-8EAB4F42F7DB}" type="sibTrans" cxnId="{E0D7BBF3-431C-4A73-93C9-C8883BA6CF07}">
      <dgm:prSet/>
      <dgm:spPr/>
      <dgm:t>
        <a:bodyPr/>
        <a:lstStyle/>
        <a:p>
          <a:endParaRPr lang="pt-BR"/>
        </a:p>
      </dgm:t>
    </dgm:pt>
    <dgm:pt modelId="{AF559394-9329-4DBD-83D0-A8842126EAAF}" type="pres">
      <dgm:prSet presAssocID="{AFA96F8A-5593-4327-AADC-41B636556B57}" presName="Name0" presStyleCnt="0">
        <dgm:presLayoutVars>
          <dgm:dir/>
          <dgm:resizeHandles val="exact"/>
        </dgm:presLayoutVars>
      </dgm:prSet>
      <dgm:spPr/>
    </dgm:pt>
    <dgm:pt modelId="{12DDFBBA-81EC-40FF-A100-4793A5CE2715}" type="pres">
      <dgm:prSet presAssocID="{AFA96F8A-5593-4327-AADC-41B636556B57}" presName="fgShape" presStyleLbl="fgShp" presStyleIdx="0" presStyleCnt="1"/>
      <dgm:spPr/>
    </dgm:pt>
    <dgm:pt modelId="{7A629CFA-7592-45D3-90FE-3AD4D2059404}" type="pres">
      <dgm:prSet presAssocID="{AFA96F8A-5593-4327-AADC-41B636556B57}" presName="linComp" presStyleCnt="0"/>
      <dgm:spPr/>
    </dgm:pt>
    <dgm:pt modelId="{3EE04EF6-B016-403D-A9B3-96AB2E48F977}" type="pres">
      <dgm:prSet presAssocID="{5628ACAC-0D8C-44DE-A10B-63EE5AEBCE9E}" presName="compNode" presStyleCnt="0"/>
      <dgm:spPr/>
    </dgm:pt>
    <dgm:pt modelId="{9C98DBB5-D549-4DF2-B3D9-EAFB2801AC93}" type="pres">
      <dgm:prSet presAssocID="{5628ACAC-0D8C-44DE-A10B-63EE5AEBCE9E}" presName="bkgdShape" presStyleLbl="node1" presStyleIdx="0" presStyleCnt="3"/>
      <dgm:spPr/>
      <dgm:t>
        <a:bodyPr/>
        <a:lstStyle/>
        <a:p>
          <a:endParaRPr lang="pt-BR"/>
        </a:p>
      </dgm:t>
    </dgm:pt>
    <dgm:pt modelId="{416BF135-7913-4FBE-AC9F-8BACA0623DB0}" type="pres">
      <dgm:prSet presAssocID="{5628ACAC-0D8C-44DE-A10B-63EE5AEBCE9E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EC31390-217F-4771-8D51-1BC4854FF9D5}" type="pres">
      <dgm:prSet presAssocID="{5628ACAC-0D8C-44DE-A10B-63EE5AEBCE9E}" presName="invisiNode" presStyleLbl="node1" presStyleIdx="0" presStyleCnt="3"/>
      <dgm:spPr/>
    </dgm:pt>
    <dgm:pt modelId="{AD94151A-CD3A-42EB-A059-1A07C808C622}" type="pres">
      <dgm:prSet presAssocID="{5628ACAC-0D8C-44DE-A10B-63EE5AEBCE9E}" presName="imagNode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5C1898E7-5ED8-4E97-84B9-620CF06C600B}" type="pres">
      <dgm:prSet presAssocID="{16DC22BD-B682-499F-90C4-0C6448C67B85}" presName="sibTrans" presStyleLbl="sibTrans2D1" presStyleIdx="0" presStyleCnt="0"/>
      <dgm:spPr/>
      <dgm:t>
        <a:bodyPr/>
        <a:lstStyle/>
        <a:p>
          <a:endParaRPr lang="pt-BR"/>
        </a:p>
      </dgm:t>
    </dgm:pt>
    <dgm:pt modelId="{1FC912A7-D3EF-4AD8-8192-787076B3CE75}" type="pres">
      <dgm:prSet presAssocID="{3FCC4B65-91FB-4DB7-828B-04B27608AEBF}" presName="compNode" presStyleCnt="0"/>
      <dgm:spPr/>
    </dgm:pt>
    <dgm:pt modelId="{96D29965-9D86-4421-B946-CF9B597BDE55}" type="pres">
      <dgm:prSet presAssocID="{3FCC4B65-91FB-4DB7-828B-04B27608AEBF}" presName="bkgdShape" presStyleLbl="node1" presStyleIdx="1" presStyleCnt="3"/>
      <dgm:spPr/>
      <dgm:t>
        <a:bodyPr/>
        <a:lstStyle/>
        <a:p>
          <a:endParaRPr lang="pt-BR"/>
        </a:p>
      </dgm:t>
    </dgm:pt>
    <dgm:pt modelId="{58FE8077-B31A-4158-8B06-BA2F3686A2D5}" type="pres">
      <dgm:prSet presAssocID="{3FCC4B65-91FB-4DB7-828B-04B27608AEBF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4451DC0-9F51-461B-9115-296EEB59B1F0}" type="pres">
      <dgm:prSet presAssocID="{3FCC4B65-91FB-4DB7-828B-04B27608AEBF}" presName="invisiNode" presStyleLbl="node1" presStyleIdx="1" presStyleCnt="3"/>
      <dgm:spPr/>
    </dgm:pt>
    <dgm:pt modelId="{F171D906-9F3F-4222-898A-481D2362EC50}" type="pres">
      <dgm:prSet presAssocID="{3FCC4B65-91FB-4DB7-828B-04B27608AEBF}" presName="imagNode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7C46E4A-4AE6-4F37-9E61-7BDEB20B3026}" type="pres">
      <dgm:prSet presAssocID="{351F7B6C-D5F3-4F06-ADCC-FE0C7B32E83A}" presName="sibTrans" presStyleLbl="sibTrans2D1" presStyleIdx="0" presStyleCnt="0"/>
      <dgm:spPr/>
      <dgm:t>
        <a:bodyPr/>
        <a:lstStyle/>
        <a:p>
          <a:endParaRPr lang="pt-BR"/>
        </a:p>
      </dgm:t>
    </dgm:pt>
    <dgm:pt modelId="{7AE9971C-9881-40E8-8D18-BB5C3629312F}" type="pres">
      <dgm:prSet presAssocID="{AB1D3701-1ACF-4D72-A4F3-A35DD8F7E48F}" presName="compNode" presStyleCnt="0"/>
      <dgm:spPr/>
    </dgm:pt>
    <dgm:pt modelId="{2BD5264F-C5C0-4B68-8DB1-0E30735AFA50}" type="pres">
      <dgm:prSet presAssocID="{AB1D3701-1ACF-4D72-A4F3-A35DD8F7E48F}" presName="bkgdShape" presStyleLbl="node1" presStyleIdx="2" presStyleCnt="3"/>
      <dgm:spPr/>
      <dgm:t>
        <a:bodyPr/>
        <a:lstStyle/>
        <a:p>
          <a:endParaRPr lang="pt-BR"/>
        </a:p>
      </dgm:t>
    </dgm:pt>
    <dgm:pt modelId="{7B71C672-CEAB-4C4A-9B98-C3B8E078E368}" type="pres">
      <dgm:prSet presAssocID="{AB1D3701-1ACF-4D72-A4F3-A35DD8F7E48F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A15F777-C089-4B8A-8556-F08789041317}" type="pres">
      <dgm:prSet presAssocID="{AB1D3701-1ACF-4D72-A4F3-A35DD8F7E48F}" presName="invisiNode" presStyleLbl="node1" presStyleIdx="2" presStyleCnt="3"/>
      <dgm:spPr/>
    </dgm:pt>
    <dgm:pt modelId="{9A3DC0E7-8EB4-45FC-B112-70DF2A030F86}" type="pres">
      <dgm:prSet presAssocID="{AB1D3701-1ACF-4D72-A4F3-A35DD8F7E48F}" presName="imagNode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648E9BF3-F26B-4C32-A2C2-185BA2E8418D}" srcId="{AFA96F8A-5593-4327-AADC-41B636556B57}" destId="{5628ACAC-0D8C-44DE-A10B-63EE5AEBCE9E}" srcOrd="0" destOrd="0" parTransId="{77FEAC61-C507-469D-A695-DBD77A39D6B7}" sibTransId="{16DC22BD-B682-499F-90C4-0C6448C67B85}"/>
    <dgm:cxn modelId="{6684299D-1D83-48C3-A61E-C6430647C44D}" type="presOf" srcId="{AB1D3701-1ACF-4D72-A4F3-A35DD8F7E48F}" destId="{7B71C672-CEAB-4C4A-9B98-C3B8E078E368}" srcOrd="1" destOrd="0" presId="urn:microsoft.com/office/officeart/2005/8/layout/hList7#1"/>
    <dgm:cxn modelId="{8C619658-CA7A-429B-A851-A1B0B1C01A6E}" type="presOf" srcId="{AFA96F8A-5593-4327-AADC-41B636556B57}" destId="{AF559394-9329-4DBD-83D0-A8842126EAAF}" srcOrd="0" destOrd="0" presId="urn:microsoft.com/office/officeart/2005/8/layout/hList7#1"/>
    <dgm:cxn modelId="{460A3A7C-1239-46BA-82D8-88CE78705F09}" type="presOf" srcId="{AB1D3701-1ACF-4D72-A4F3-A35DD8F7E48F}" destId="{2BD5264F-C5C0-4B68-8DB1-0E30735AFA50}" srcOrd="0" destOrd="0" presId="urn:microsoft.com/office/officeart/2005/8/layout/hList7#1"/>
    <dgm:cxn modelId="{E0D7BBF3-431C-4A73-93C9-C8883BA6CF07}" srcId="{AFA96F8A-5593-4327-AADC-41B636556B57}" destId="{AB1D3701-1ACF-4D72-A4F3-A35DD8F7E48F}" srcOrd="2" destOrd="0" parTransId="{AB696997-BF29-498A-910F-1FB35A7D723C}" sibTransId="{1C32D432-9060-43C0-A0EF-8EAB4F42F7DB}"/>
    <dgm:cxn modelId="{D0681A98-1A32-4B89-8C85-CC60E46FC771}" type="presOf" srcId="{5628ACAC-0D8C-44DE-A10B-63EE5AEBCE9E}" destId="{416BF135-7913-4FBE-AC9F-8BACA0623DB0}" srcOrd="1" destOrd="0" presId="urn:microsoft.com/office/officeart/2005/8/layout/hList7#1"/>
    <dgm:cxn modelId="{AF7366FF-45E3-4CC6-98E9-D8A0A0572B5E}" type="presOf" srcId="{351F7B6C-D5F3-4F06-ADCC-FE0C7B32E83A}" destId="{07C46E4A-4AE6-4F37-9E61-7BDEB20B3026}" srcOrd="0" destOrd="0" presId="urn:microsoft.com/office/officeart/2005/8/layout/hList7#1"/>
    <dgm:cxn modelId="{FFE48ADF-DF2A-45D1-B2DE-72F5E8CD90C8}" type="presOf" srcId="{3FCC4B65-91FB-4DB7-828B-04B27608AEBF}" destId="{58FE8077-B31A-4158-8B06-BA2F3686A2D5}" srcOrd="1" destOrd="0" presId="urn:microsoft.com/office/officeart/2005/8/layout/hList7#1"/>
    <dgm:cxn modelId="{F5FD9645-5F58-4B2B-957A-86A22033088E}" type="presOf" srcId="{5628ACAC-0D8C-44DE-A10B-63EE5AEBCE9E}" destId="{9C98DBB5-D549-4DF2-B3D9-EAFB2801AC93}" srcOrd="0" destOrd="0" presId="urn:microsoft.com/office/officeart/2005/8/layout/hList7#1"/>
    <dgm:cxn modelId="{20E005D8-8A0F-4F46-AA11-ADB0FF662B8B}" type="presOf" srcId="{16DC22BD-B682-499F-90C4-0C6448C67B85}" destId="{5C1898E7-5ED8-4E97-84B9-620CF06C600B}" srcOrd="0" destOrd="0" presId="urn:microsoft.com/office/officeart/2005/8/layout/hList7#1"/>
    <dgm:cxn modelId="{D0899AFB-9722-44C8-8C73-54A7A146F5FB}" srcId="{AFA96F8A-5593-4327-AADC-41B636556B57}" destId="{3FCC4B65-91FB-4DB7-828B-04B27608AEBF}" srcOrd="1" destOrd="0" parTransId="{192DFD91-6CB2-479F-ADB2-88FB744AC602}" sibTransId="{351F7B6C-D5F3-4F06-ADCC-FE0C7B32E83A}"/>
    <dgm:cxn modelId="{06A26DA8-14E2-4FCA-A465-2D8430B2CB06}" type="presOf" srcId="{3FCC4B65-91FB-4DB7-828B-04B27608AEBF}" destId="{96D29965-9D86-4421-B946-CF9B597BDE55}" srcOrd="0" destOrd="0" presId="urn:microsoft.com/office/officeart/2005/8/layout/hList7#1"/>
    <dgm:cxn modelId="{E9277350-06B1-45F3-AE68-5931DF212B37}" type="presParOf" srcId="{AF559394-9329-4DBD-83D0-A8842126EAAF}" destId="{12DDFBBA-81EC-40FF-A100-4793A5CE2715}" srcOrd="0" destOrd="0" presId="urn:microsoft.com/office/officeart/2005/8/layout/hList7#1"/>
    <dgm:cxn modelId="{DFB9B6B0-5E4B-4243-80D5-1D0D6DF6E483}" type="presParOf" srcId="{AF559394-9329-4DBD-83D0-A8842126EAAF}" destId="{7A629CFA-7592-45D3-90FE-3AD4D2059404}" srcOrd="1" destOrd="0" presId="urn:microsoft.com/office/officeart/2005/8/layout/hList7#1"/>
    <dgm:cxn modelId="{1F983201-AB59-46C2-BC52-5F741AA63E21}" type="presParOf" srcId="{7A629CFA-7592-45D3-90FE-3AD4D2059404}" destId="{3EE04EF6-B016-403D-A9B3-96AB2E48F977}" srcOrd="0" destOrd="0" presId="urn:microsoft.com/office/officeart/2005/8/layout/hList7#1"/>
    <dgm:cxn modelId="{AD36CC1E-5C12-4E67-ABB1-2F788BC24A1B}" type="presParOf" srcId="{3EE04EF6-B016-403D-A9B3-96AB2E48F977}" destId="{9C98DBB5-D549-4DF2-B3D9-EAFB2801AC93}" srcOrd="0" destOrd="0" presId="urn:microsoft.com/office/officeart/2005/8/layout/hList7#1"/>
    <dgm:cxn modelId="{3DA4D669-C6B6-4FFD-8D22-AFD2779833A8}" type="presParOf" srcId="{3EE04EF6-B016-403D-A9B3-96AB2E48F977}" destId="{416BF135-7913-4FBE-AC9F-8BACA0623DB0}" srcOrd="1" destOrd="0" presId="urn:microsoft.com/office/officeart/2005/8/layout/hList7#1"/>
    <dgm:cxn modelId="{FCD15EC3-BA7E-4386-8BAD-6A622B3C958A}" type="presParOf" srcId="{3EE04EF6-B016-403D-A9B3-96AB2E48F977}" destId="{0EC31390-217F-4771-8D51-1BC4854FF9D5}" srcOrd="2" destOrd="0" presId="urn:microsoft.com/office/officeart/2005/8/layout/hList7#1"/>
    <dgm:cxn modelId="{66C4EB97-E2B3-415E-8690-335159EB8739}" type="presParOf" srcId="{3EE04EF6-B016-403D-A9B3-96AB2E48F977}" destId="{AD94151A-CD3A-42EB-A059-1A07C808C622}" srcOrd="3" destOrd="0" presId="urn:microsoft.com/office/officeart/2005/8/layout/hList7#1"/>
    <dgm:cxn modelId="{98521B8C-C8AE-41D6-BA2F-62EDDEB57E9E}" type="presParOf" srcId="{7A629CFA-7592-45D3-90FE-3AD4D2059404}" destId="{5C1898E7-5ED8-4E97-84B9-620CF06C600B}" srcOrd="1" destOrd="0" presId="urn:microsoft.com/office/officeart/2005/8/layout/hList7#1"/>
    <dgm:cxn modelId="{836F85B4-3DB2-469A-BC31-B3AAFEE132C3}" type="presParOf" srcId="{7A629CFA-7592-45D3-90FE-3AD4D2059404}" destId="{1FC912A7-D3EF-4AD8-8192-787076B3CE75}" srcOrd="2" destOrd="0" presId="urn:microsoft.com/office/officeart/2005/8/layout/hList7#1"/>
    <dgm:cxn modelId="{DCEE3F6B-81E0-498B-A22A-0B2811AF5708}" type="presParOf" srcId="{1FC912A7-D3EF-4AD8-8192-787076B3CE75}" destId="{96D29965-9D86-4421-B946-CF9B597BDE55}" srcOrd="0" destOrd="0" presId="urn:microsoft.com/office/officeart/2005/8/layout/hList7#1"/>
    <dgm:cxn modelId="{AD8374B9-654E-4880-9E3E-04B6B4E1896C}" type="presParOf" srcId="{1FC912A7-D3EF-4AD8-8192-787076B3CE75}" destId="{58FE8077-B31A-4158-8B06-BA2F3686A2D5}" srcOrd="1" destOrd="0" presId="urn:microsoft.com/office/officeart/2005/8/layout/hList7#1"/>
    <dgm:cxn modelId="{66A79E2E-0025-42A0-9648-848889C2DED2}" type="presParOf" srcId="{1FC912A7-D3EF-4AD8-8192-787076B3CE75}" destId="{84451DC0-9F51-461B-9115-296EEB59B1F0}" srcOrd="2" destOrd="0" presId="urn:microsoft.com/office/officeart/2005/8/layout/hList7#1"/>
    <dgm:cxn modelId="{C215C833-D7A0-47B1-B1CD-8427D0F01A9A}" type="presParOf" srcId="{1FC912A7-D3EF-4AD8-8192-787076B3CE75}" destId="{F171D906-9F3F-4222-898A-481D2362EC50}" srcOrd="3" destOrd="0" presId="urn:microsoft.com/office/officeart/2005/8/layout/hList7#1"/>
    <dgm:cxn modelId="{23CA9AB9-C35C-4B2F-85F1-B86589686404}" type="presParOf" srcId="{7A629CFA-7592-45D3-90FE-3AD4D2059404}" destId="{07C46E4A-4AE6-4F37-9E61-7BDEB20B3026}" srcOrd="3" destOrd="0" presId="urn:microsoft.com/office/officeart/2005/8/layout/hList7#1"/>
    <dgm:cxn modelId="{230CEC11-C6DF-4F2E-8794-423E84A28841}" type="presParOf" srcId="{7A629CFA-7592-45D3-90FE-3AD4D2059404}" destId="{7AE9971C-9881-40E8-8D18-BB5C3629312F}" srcOrd="4" destOrd="0" presId="urn:microsoft.com/office/officeart/2005/8/layout/hList7#1"/>
    <dgm:cxn modelId="{E4D81C47-6336-4072-9D7E-B7B3C00B1D3C}" type="presParOf" srcId="{7AE9971C-9881-40E8-8D18-BB5C3629312F}" destId="{2BD5264F-C5C0-4B68-8DB1-0E30735AFA50}" srcOrd="0" destOrd="0" presId="urn:microsoft.com/office/officeart/2005/8/layout/hList7#1"/>
    <dgm:cxn modelId="{F41AC0B4-D0C5-43CB-91E1-92B103F1D947}" type="presParOf" srcId="{7AE9971C-9881-40E8-8D18-BB5C3629312F}" destId="{7B71C672-CEAB-4C4A-9B98-C3B8E078E368}" srcOrd="1" destOrd="0" presId="urn:microsoft.com/office/officeart/2005/8/layout/hList7#1"/>
    <dgm:cxn modelId="{123E6290-3B55-4C21-85EE-BE63E0D4BED4}" type="presParOf" srcId="{7AE9971C-9881-40E8-8D18-BB5C3629312F}" destId="{EA15F777-C089-4B8A-8556-F08789041317}" srcOrd="2" destOrd="0" presId="urn:microsoft.com/office/officeart/2005/8/layout/hList7#1"/>
    <dgm:cxn modelId="{5E2526B1-730F-45F6-A4E5-4AA06C60C7CA}" type="presParOf" srcId="{7AE9971C-9881-40E8-8D18-BB5C3629312F}" destId="{9A3DC0E7-8EB4-45FC-B112-70DF2A030F86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2000" b="1" dirty="0" smtClean="0">
              <a:latin typeface="+mn-lt"/>
            </a:rPr>
            <a:t>Estrutura tarifária</a:t>
          </a:r>
          <a:endParaRPr lang="pt-BR" sz="2000" b="1" dirty="0">
            <a:latin typeface="+mn-lt"/>
          </a:endParaRPr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63E53003-C21A-43AD-BA4D-9A2A203F27B0}">
      <dgm:prSet phldrT="[Texto]" custT="1"/>
      <dgm:spPr/>
      <dgm:t>
        <a:bodyPr/>
        <a:lstStyle/>
        <a:p>
          <a:r>
            <a:rPr lang="pt-BR" sz="1600" b="1" dirty="0" smtClean="0">
              <a:latin typeface="+mj-lt"/>
            </a:rPr>
            <a:t>As tarifas iniciais são iguais às aplicadas nas concessões de GRU, VCP e BSB, inclusive as tarifas de conexão</a:t>
          </a:r>
          <a:endParaRPr lang="pt-BR" sz="1600" dirty="0"/>
        </a:p>
      </dgm:t>
    </dgm:pt>
    <dgm:pt modelId="{05DB31E6-051A-44D7-B85B-545FE999E0CA}" type="parTrans" cxnId="{9F624E05-8399-4452-96A8-E2A38384942C}">
      <dgm:prSet/>
      <dgm:spPr/>
      <dgm:t>
        <a:bodyPr/>
        <a:lstStyle/>
        <a:p>
          <a:endParaRPr lang="pt-BR"/>
        </a:p>
      </dgm:t>
    </dgm:pt>
    <dgm:pt modelId="{519353C5-8298-4FAB-AFEF-D4413CC37BC9}" type="sibTrans" cxnId="{9F624E05-8399-4452-96A8-E2A38384942C}">
      <dgm:prSet/>
      <dgm:spPr/>
      <dgm:t>
        <a:bodyPr/>
        <a:lstStyle/>
        <a:p>
          <a:endParaRPr lang="pt-BR"/>
        </a:p>
      </dgm:t>
    </dgm:pt>
    <dgm:pt modelId="{1FFEB597-CC95-419B-9430-8CBEB84A650A}">
      <dgm:prSet phldrT="[Texto]" custT="1"/>
      <dgm:spPr/>
      <dgm:t>
        <a:bodyPr/>
        <a:lstStyle/>
        <a:p>
          <a:r>
            <a:rPr lang="pt-BR" sz="2000" b="1" dirty="0" smtClean="0">
              <a:latin typeface="+mn-lt"/>
            </a:rPr>
            <a:t>Contribuição variável</a:t>
          </a:r>
          <a:endParaRPr lang="pt-BR" sz="2000" b="1" dirty="0">
            <a:latin typeface="+mn-lt"/>
          </a:endParaRPr>
        </a:p>
      </dgm:t>
    </dgm:pt>
    <dgm:pt modelId="{6D5DB687-6BCB-493F-8DE7-0955C6D9FBCF}" type="parTrans" cxnId="{A72D168A-232C-4168-8733-B02998097BA6}">
      <dgm:prSet/>
      <dgm:spPr/>
      <dgm:t>
        <a:bodyPr/>
        <a:lstStyle/>
        <a:p>
          <a:endParaRPr lang="pt-BR"/>
        </a:p>
      </dgm:t>
    </dgm:pt>
    <dgm:pt modelId="{6F38DF5A-27AC-4D2B-B707-FE53B0ED13DA}" type="sibTrans" cxnId="{A72D168A-232C-4168-8733-B02998097BA6}">
      <dgm:prSet/>
      <dgm:spPr/>
      <dgm:t>
        <a:bodyPr/>
        <a:lstStyle/>
        <a:p>
          <a:endParaRPr lang="pt-BR"/>
        </a:p>
      </dgm:t>
    </dgm:pt>
    <dgm:pt modelId="{35124B3E-BDDD-42D8-8441-48D541220D1E}">
      <dgm:prSet phldrT="[Texto]"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Galeão e Confins:</a:t>
          </a:r>
          <a:endParaRPr lang="pt-BR" sz="1600" dirty="0">
            <a:solidFill>
              <a:schemeClr val="tx1"/>
            </a:solidFill>
          </a:endParaRPr>
        </a:p>
      </dgm:t>
    </dgm:pt>
    <dgm:pt modelId="{E31E7F7D-B86D-4332-85C9-677758A297EA}" type="parTrans" cxnId="{4875C90D-C6D5-4F60-A84C-C6DAA030D0E2}">
      <dgm:prSet/>
      <dgm:spPr/>
      <dgm:t>
        <a:bodyPr/>
        <a:lstStyle/>
        <a:p>
          <a:endParaRPr lang="pt-BR"/>
        </a:p>
      </dgm:t>
    </dgm:pt>
    <dgm:pt modelId="{9812BAA5-9C89-424E-AC84-922AB78348F4}" type="sibTrans" cxnId="{4875C90D-C6D5-4F60-A84C-C6DAA030D0E2}">
      <dgm:prSet/>
      <dgm:spPr/>
      <dgm:t>
        <a:bodyPr/>
        <a:lstStyle/>
        <a:p>
          <a:endParaRPr lang="pt-BR"/>
        </a:p>
      </dgm:t>
    </dgm:pt>
    <dgm:pt modelId="{A89AA8B1-7046-4820-B647-293E74CCE815}">
      <dgm:prSet phldrT="[Texto]" custT="1"/>
      <dgm:spPr/>
      <dgm:t>
        <a:bodyPr/>
        <a:lstStyle/>
        <a:p>
          <a:r>
            <a:rPr lang="pt-BR" sz="2000" b="1" dirty="0" smtClean="0">
              <a:latin typeface="+mn-lt"/>
            </a:rPr>
            <a:t>Prazo de Concessão</a:t>
          </a:r>
          <a:endParaRPr lang="pt-BR" sz="2000" b="1" dirty="0">
            <a:latin typeface="+mn-lt"/>
          </a:endParaRPr>
        </a:p>
      </dgm:t>
    </dgm:pt>
    <dgm:pt modelId="{E90E5C4A-16D9-487A-A47D-BDD7164CBEB9}" type="parTrans" cxnId="{BE308FEA-5B41-426D-AD2F-D52D70809A96}">
      <dgm:prSet/>
      <dgm:spPr/>
      <dgm:t>
        <a:bodyPr/>
        <a:lstStyle/>
        <a:p>
          <a:endParaRPr lang="pt-BR"/>
        </a:p>
      </dgm:t>
    </dgm:pt>
    <dgm:pt modelId="{9A09B2A3-A09F-4852-BD34-32C34F305FA9}" type="sibTrans" cxnId="{BE308FEA-5B41-426D-AD2F-D52D70809A96}">
      <dgm:prSet/>
      <dgm:spPr/>
      <dgm:t>
        <a:bodyPr/>
        <a:lstStyle/>
        <a:p>
          <a:endParaRPr lang="pt-BR"/>
        </a:p>
      </dgm:t>
    </dgm:pt>
    <dgm:pt modelId="{6F7819C0-5375-4FFC-9C3C-5A749BF0CCE0}">
      <dgm:prSet phldrT="[Texto]"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Confins: 30 anos</a:t>
          </a:r>
          <a:endParaRPr lang="pt-BR" sz="1600" dirty="0">
            <a:solidFill>
              <a:schemeClr val="tx1"/>
            </a:solidFill>
          </a:endParaRPr>
        </a:p>
      </dgm:t>
    </dgm:pt>
    <dgm:pt modelId="{088F7427-8ED9-4D59-AE7E-7801973FE327}" type="parTrans" cxnId="{2D4843E2-BBFE-421B-921B-3EC9276DEFBB}">
      <dgm:prSet/>
      <dgm:spPr/>
      <dgm:t>
        <a:bodyPr/>
        <a:lstStyle/>
        <a:p>
          <a:endParaRPr lang="pt-BR"/>
        </a:p>
      </dgm:t>
    </dgm:pt>
    <dgm:pt modelId="{5B60A844-658E-4A11-A1B9-C65A89208FD7}" type="sibTrans" cxnId="{2D4843E2-BBFE-421B-921B-3EC9276DEFBB}">
      <dgm:prSet/>
      <dgm:spPr/>
      <dgm:t>
        <a:bodyPr/>
        <a:lstStyle/>
        <a:p>
          <a:endParaRPr lang="pt-BR"/>
        </a:p>
      </dgm:t>
    </dgm:pt>
    <dgm:pt modelId="{7858975F-67E0-427E-B1EE-1CEE2FD3B7DC}">
      <dgm:prSet phldrT="[Texto]" custT="1"/>
      <dgm:spPr/>
      <dgm:t>
        <a:bodyPr/>
        <a:lstStyle/>
        <a:p>
          <a:r>
            <a:rPr lang="pt-BR" sz="2000" b="1" dirty="0" smtClean="0">
              <a:latin typeface="+mn-lt"/>
            </a:rPr>
            <a:t>Premissas de capacidade</a:t>
          </a:r>
          <a:endParaRPr lang="pt-BR" sz="2000" b="1" dirty="0">
            <a:latin typeface="+mn-lt"/>
          </a:endParaRPr>
        </a:p>
      </dgm:t>
    </dgm:pt>
    <dgm:pt modelId="{D38E6E45-EE51-4B39-A76B-FA380FEBD89D}" type="parTrans" cxnId="{36EA413F-330F-4CB7-95D0-B053D3A7DAB4}">
      <dgm:prSet/>
      <dgm:spPr/>
      <dgm:t>
        <a:bodyPr/>
        <a:lstStyle/>
        <a:p>
          <a:endParaRPr lang="pt-BR"/>
        </a:p>
      </dgm:t>
    </dgm:pt>
    <dgm:pt modelId="{AB60BEBA-B212-4AEC-84F0-B8ACF5C7F5E2}" type="sibTrans" cxnId="{36EA413F-330F-4CB7-95D0-B053D3A7DAB4}">
      <dgm:prSet/>
      <dgm:spPr/>
      <dgm:t>
        <a:bodyPr/>
        <a:lstStyle/>
        <a:p>
          <a:endParaRPr lang="pt-BR"/>
        </a:p>
      </dgm:t>
    </dgm:pt>
    <dgm:pt modelId="{03B8DC41-6AFB-4DCA-B277-28F7B3A82D03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5% da Receita Bruta</a:t>
          </a:r>
          <a:endParaRPr lang="pt-BR" sz="1600" b="1" dirty="0">
            <a:solidFill>
              <a:schemeClr val="tx1"/>
            </a:solidFill>
            <a:latin typeface="+mj-lt"/>
          </a:endParaRPr>
        </a:p>
      </dgm:t>
    </dgm:pt>
    <dgm:pt modelId="{2BE0E3C5-0E40-4B52-AA67-E872C54BB984}" type="parTrans" cxnId="{076039D1-F01E-4397-8704-EB7C1E65C45D}">
      <dgm:prSet/>
      <dgm:spPr/>
      <dgm:t>
        <a:bodyPr/>
        <a:lstStyle/>
        <a:p>
          <a:endParaRPr lang="pt-BR"/>
        </a:p>
      </dgm:t>
    </dgm:pt>
    <dgm:pt modelId="{0386D754-0221-48DB-8DF8-D1714D03BDD5}" type="sibTrans" cxnId="{076039D1-F01E-4397-8704-EB7C1E65C45D}">
      <dgm:prSet/>
      <dgm:spPr/>
      <dgm:t>
        <a:bodyPr/>
        <a:lstStyle/>
        <a:p>
          <a:endParaRPr lang="pt-BR"/>
        </a:p>
      </dgm:t>
    </dgm:pt>
    <dgm:pt modelId="{29191600-C468-460D-B1C9-81F3F63C2B3A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  <a:ea typeface="MS PGothic" pitchFamily="34" charset="-128"/>
            </a:rPr>
            <a:t>Galeão: 25 anos</a:t>
          </a:r>
          <a:endParaRPr lang="pt-BR" sz="1600" b="1" dirty="0">
            <a:solidFill>
              <a:schemeClr val="tx1"/>
            </a:solidFill>
            <a:latin typeface="+mj-lt"/>
            <a:ea typeface="MS PGothic" pitchFamily="34" charset="-128"/>
          </a:endParaRPr>
        </a:p>
      </dgm:t>
    </dgm:pt>
    <dgm:pt modelId="{E1545F1B-60C6-48C8-8DD9-065B8C50CD15}" type="parTrans" cxnId="{245E43E5-C3EF-4A2B-B688-CC880D3763F9}">
      <dgm:prSet/>
      <dgm:spPr/>
      <dgm:t>
        <a:bodyPr/>
        <a:lstStyle/>
        <a:p>
          <a:endParaRPr lang="pt-BR"/>
        </a:p>
      </dgm:t>
    </dgm:pt>
    <dgm:pt modelId="{04FCB5A9-6713-4356-8084-B75B13AC654E}" type="sibTrans" cxnId="{245E43E5-C3EF-4A2B-B688-CC880D3763F9}">
      <dgm:prSet/>
      <dgm:spPr/>
      <dgm:t>
        <a:bodyPr/>
        <a:lstStyle/>
        <a:p>
          <a:endParaRPr lang="pt-BR"/>
        </a:p>
      </dgm:t>
    </dgm:pt>
    <dgm:pt modelId="{C209DD77-6672-464D-A894-22B2E1710469}">
      <dgm:prSet phldrT="[Texto]"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Plano diretor das instalações</a:t>
          </a:r>
          <a:endParaRPr lang="pt-BR" sz="1600" dirty="0">
            <a:solidFill>
              <a:schemeClr val="tx1"/>
            </a:solidFill>
          </a:endParaRPr>
        </a:p>
      </dgm:t>
    </dgm:pt>
    <dgm:pt modelId="{1CA5C780-EEE4-419B-ADA3-CD5099C2481F}" type="parTrans" cxnId="{9A5F749C-18FD-4BF0-940C-2672411C485E}">
      <dgm:prSet/>
      <dgm:spPr/>
      <dgm:t>
        <a:bodyPr/>
        <a:lstStyle/>
        <a:p>
          <a:endParaRPr lang="pt-BR"/>
        </a:p>
      </dgm:t>
    </dgm:pt>
    <dgm:pt modelId="{12C404AE-DC74-4D84-B0C0-728DFE1D3F3E}" type="sibTrans" cxnId="{9A5F749C-18FD-4BF0-940C-2672411C485E}">
      <dgm:prSet/>
      <dgm:spPr/>
      <dgm:t>
        <a:bodyPr/>
        <a:lstStyle/>
        <a:p>
          <a:endParaRPr lang="pt-BR"/>
        </a:p>
      </dgm:t>
    </dgm:pt>
    <dgm:pt modelId="{CBD9E346-E2F8-4B6A-80DB-F29A18DD8022}">
      <dgm:prSet custT="1"/>
      <dgm:spPr/>
      <dgm:t>
        <a:bodyPr/>
        <a:lstStyle/>
        <a:p>
          <a:r>
            <a:rPr lang="pt-BR" sz="1600" b="1" smtClean="0">
              <a:solidFill>
                <a:schemeClr val="tx1"/>
              </a:solidFill>
              <a:latin typeface="+mj-lt"/>
            </a:rPr>
            <a:t>Confins: 2 pistas obrigatórias (independentes)</a:t>
          </a:r>
          <a:endParaRPr lang="pt-BR" sz="1600" b="1" dirty="0">
            <a:solidFill>
              <a:schemeClr val="tx1"/>
            </a:solidFill>
            <a:latin typeface="+mj-lt"/>
          </a:endParaRPr>
        </a:p>
      </dgm:t>
    </dgm:pt>
    <dgm:pt modelId="{F7AB8307-D634-4FD7-A5B1-169696E0B9DB}" type="parTrans" cxnId="{DFD861BB-38AB-4D9E-A76D-285418BD032D}">
      <dgm:prSet/>
      <dgm:spPr/>
      <dgm:t>
        <a:bodyPr/>
        <a:lstStyle/>
        <a:p>
          <a:endParaRPr lang="pt-BR"/>
        </a:p>
      </dgm:t>
    </dgm:pt>
    <dgm:pt modelId="{17FDD302-3618-46D6-839E-FD79EFE207DF}" type="sibTrans" cxnId="{DFD861BB-38AB-4D9E-A76D-285418BD032D}">
      <dgm:prSet/>
      <dgm:spPr/>
      <dgm:t>
        <a:bodyPr/>
        <a:lstStyle/>
        <a:p>
          <a:endParaRPr lang="pt-BR"/>
        </a:p>
      </dgm:t>
    </dgm:pt>
    <dgm:pt modelId="{4B3BFA5C-C4E3-4727-A646-5B0EC59F308E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Galeão: sistema de pistas paralelas independentes</a:t>
          </a:r>
          <a:endParaRPr lang="pt-BR" sz="1600" b="1" dirty="0">
            <a:solidFill>
              <a:schemeClr val="tx1"/>
            </a:solidFill>
            <a:latin typeface="+mj-lt"/>
          </a:endParaRPr>
        </a:p>
      </dgm:t>
    </dgm:pt>
    <dgm:pt modelId="{E4C9694A-FF8B-4D17-9CEE-30321D981737}" type="parTrans" cxnId="{97BDCB8F-0B35-4725-A4CC-A861EE8694B8}">
      <dgm:prSet/>
      <dgm:spPr/>
      <dgm:t>
        <a:bodyPr/>
        <a:lstStyle/>
        <a:p>
          <a:endParaRPr lang="pt-BR"/>
        </a:p>
      </dgm:t>
    </dgm:pt>
    <dgm:pt modelId="{D9D3CC3A-9F64-49F3-A34A-359211B51585}" type="sibTrans" cxnId="{97BDCB8F-0B35-4725-A4CC-A861EE8694B8}">
      <dgm:prSet/>
      <dgm:spPr/>
      <dgm:t>
        <a:bodyPr/>
        <a:lstStyle/>
        <a:p>
          <a:endParaRPr lang="pt-BR"/>
        </a:p>
      </dgm:t>
    </dgm:pt>
    <dgm:pt modelId="{E8456B9C-2229-4F9B-8516-A95A3DAD26F4}">
      <dgm:prSet custT="1"/>
      <dgm:spPr/>
      <dgm:t>
        <a:bodyPr/>
        <a:lstStyle/>
        <a:p>
          <a:r>
            <a:rPr lang="pt-BR" sz="2000" b="1" dirty="0" smtClean="0">
              <a:latin typeface="+mn-lt"/>
            </a:rPr>
            <a:t>Projeção de demanda</a:t>
          </a:r>
          <a:endParaRPr lang="pt-BR" sz="2000" b="1" dirty="0">
            <a:latin typeface="+mn-lt"/>
          </a:endParaRPr>
        </a:p>
      </dgm:t>
    </dgm:pt>
    <dgm:pt modelId="{E614F5BF-507E-460B-9C6C-384692762DBC}" type="parTrans" cxnId="{3558F7DE-8341-433E-A336-34C82283275B}">
      <dgm:prSet/>
      <dgm:spPr/>
      <dgm:t>
        <a:bodyPr/>
        <a:lstStyle/>
        <a:p>
          <a:endParaRPr lang="pt-BR"/>
        </a:p>
      </dgm:t>
    </dgm:pt>
    <dgm:pt modelId="{8A49495E-D467-4572-A6ED-EA3029FFF26F}" type="sibTrans" cxnId="{3558F7DE-8341-433E-A336-34C82283275B}">
      <dgm:prSet/>
      <dgm:spPr/>
      <dgm:t>
        <a:bodyPr/>
        <a:lstStyle/>
        <a:p>
          <a:endParaRPr lang="pt-BR"/>
        </a:p>
      </dgm:t>
    </dgm:pt>
    <dgm:pt modelId="{1DFCB8D3-E8B1-40C6-AFF9-A0126BFF7958}">
      <dgm:prSet custT="1"/>
      <dgm:spPr/>
      <dgm:t>
        <a:bodyPr/>
        <a:lstStyle/>
        <a:p>
          <a:r>
            <a:rPr lang="pt-BR" sz="2000" b="1" dirty="0" smtClean="0">
              <a:latin typeface="+mn-lt"/>
            </a:rPr>
            <a:t>Premissas macro econômicas</a:t>
          </a:r>
          <a:endParaRPr lang="pt-BR" sz="2000" b="1" dirty="0">
            <a:latin typeface="+mn-lt"/>
          </a:endParaRPr>
        </a:p>
      </dgm:t>
    </dgm:pt>
    <dgm:pt modelId="{398A78D3-7FE5-4F36-A27E-076DF7D64438}" type="parTrans" cxnId="{3B992E19-454C-43B9-AE79-EF95FF4BB94E}">
      <dgm:prSet/>
      <dgm:spPr/>
      <dgm:t>
        <a:bodyPr/>
        <a:lstStyle/>
        <a:p>
          <a:endParaRPr lang="pt-BR"/>
        </a:p>
      </dgm:t>
    </dgm:pt>
    <dgm:pt modelId="{0A0283EC-5CAC-4741-8AAD-1EE9CC4207F5}" type="sibTrans" cxnId="{3B992E19-454C-43B9-AE79-EF95FF4BB94E}">
      <dgm:prSet/>
      <dgm:spPr/>
      <dgm:t>
        <a:bodyPr/>
        <a:lstStyle/>
        <a:p>
          <a:endParaRPr lang="pt-BR"/>
        </a:p>
      </dgm:t>
    </dgm:pt>
    <dgm:pt modelId="{4EDF3729-31A3-4A9A-9E25-47F612319B9C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Utilizando premissas do Governo Federal</a:t>
          </a:r>
          <a:endParaRPr lang="pt-BR" sz="1600" b="1" baseline="30000" dirty="0">
            <a:solidFill>
              <a:schemeClr val="tx1"/>
            </a:solidFill>
            <a:latin typeface="+mj-lt"/>
          </a:endParaRPr>
        </a:p>
      </dgm:t>
    </dgm:pt>
    <dgm:pt modelId="{252C3E6D-7508-456F-9A94-87135112CFE9}" type="parTrans" cxnId="{057F63EA-3DB5-423F-8266-1DDD04E1FE67}">
      <dgm:prSet/>
      <dgm:spPr/>
      <dgm:t>
        <a:bodyPr/>
        <a:lstStyle/>
        <a:p>
          <a:endParaRPr lang="pt-BR"/>
        </a:p>
      </dgm:t>
    </dgm:pt>
    <dgm:pt modelId="{E4821664-E992-45CC-A17D-C0E3824E0F2E}" type="sibTrans" cxnId="{057F63EA-3DB5-423F-8266-1DDD04E1FE67}">
      <dgm:prSet/>
      <dgm:spPr/>
      <dgm:t>
        <a:bodyPr/>
        <a:lstStyle/>
        <a:p>
          <a:endParaRPr lang="pt-BR"/>
        </a:p>
      </dgm:t>
    </dgm:pt>
    <dgm:pt modelId="{3230520B-F9A0-48A5-889F-26C49EDB6DA1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Taxa de (de)crescimento da elasticidade da demanda</a:t>
          </a:r>
        </a:p>
      </dgm:t>
    </dgm:pt>
    <dgm:pt modelId="{F8E838C7-D5B1-4F92-9777-B09EBC475116}" type="parTrans" cxnId="{24B756CD-E5A7-4296-B3C4-7751833FFE21}">
      <dgm:prSet/>
      <dgm:spPr/>
      <dgm:t>
        <a:bodyPr/>
        <a:lstStyle/>
        <a:p>
          <a:endParaRPr lang="pt-BR"/>
        </a:p>
      </dgm:t>
    </dgm:pt>
    <dgm:pt modelId="{2EFE3D31-BFA6-45DD-803F-B1E6AD0F5777}" type="sibTrans" cxnId="{24B756CD-E5A7-4296-B3C4-7751833FFE21}">
      <dgm:prSet/>
      <dgm:spPr/>
      <dgm:t>
        <a:bodyPr/>
        <a:lstStyle/>
        <a:p>
          <a:endParaRPr lang="pt-BR"/>
        </a:p>
      </dgm:t>
    </dgm:pt>
    <dgm:pt modelId="{B9F37DBE-23FD-4B18-9B46-252D34E546D3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WACC = 6,46% (real, pós impostos) - mesmo valor utilizado nas concessões de GRU e BSB</a:t>
          </a:r>
          <a:endParaRPr lang="pt-BR" sz="1600" b="1" baseline="30000" dirty="0">
            <a:solidFill>
              <a:schemeClr val="tx1"/>
            </a:solidFill>
            <a:latin typeface="+mj-lt"/>
          </a:endParaRPr>
        </a:p>
      </dgm:t>
    </dgm:pt>
    <dgm:pt modelId="{CFB9D8A5-F085-4983-B812-BFD5BBC7C32E}" type="parTrans" cxnId="{7F519BB4-8771-41CC-ABC3-6E1E4DC11CD3}">
      <dgm:prSet/>
      <dgm:spPr/>
      <dgm:t>
        <a:bodyPr/>
        <a:lstStyle/>
        <a:p>
          <a:endParaRPr lang="pt-BR"/>
        </a:p>
      </dgm:t>
    </dgm:pt>
    <dgm:pt modelId="{E57AE01B-16B2-4BA8-B663-0C9A8572BF1B}" type="sibTrans" cxnId="{7F519BB4-8771-41CC-ABC3-6E1E4DC11CD3}">
      <dgm:prSet/>
      <dgm:spPr/>
      <dgm:t>
        <a:bodyPr/>
        <a:lstStyle/>
        <a:p>
          <a:endParaRPr lang="pt-BR"/>
        </a:p>
      </dgm:t>
    </dgm:pt>
    <dgm:pt modelId="{68F89F71-8B3D-4603-9EA9-CBA5E4854BA0}">
      <dgm:prSet custT="1"/>
      <dgm:spPr/>
      <dgm:t>
        <a:bodyPr/>
        <a:lstStyle/>
        <a:p>
          <a:r>
            <a:rPr lang="pt-BR" sz="1600" b="1" dirty="0" smtClean="0">
              <a:solidFill>
                <a:schemeClr val="tx1"/>
              </a:solidFill>
              <a:latin typeface="+mj-lt"/>
            </a:rPr>
            <a:t>Modelo em valores reais – sem inflação</a:t>
          </a:r>
          <a:endParaRPr lang="pt-BR" sz="1600" b="1" dirty="0">
            <a:solidFill>
              <a:schemeClr val="tx1"/>
            </a:solidFill>
            <a:latin typeface="+mj-lt"/>
          </a:endParaRPr>
        </a:p>
      </dgm:t>
    </dgm:pt>
    <dgm:pt modelId="{320B5DCF-0C85-4B9F-A6F7-9CBEB43D53C0}" type="parTrans" cxnId="{883CBC70-DD75-4A7C-87ED-C560C87E8702}">
      <dgm:prSet/>
      <dgm:spPr/>
      <dgm:t>
        <a:bodyPr/>
        <a:lstStyle/>
        <a:p>
          <a:endParaRPr lang="pt-BR"/>
        </a:p>
      </dgm:t>
    </dgm:pt>
    <dgm:pt modelId="{EBFB4C9E-A491-43DC-928A-6905A0567EC1}" type="sibTrans" cxnId="{883CBC70-DD75-4A7C-87ED-C560C87E8702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B5FC0C6-3F7C-4FEA-88D9-1EFDA05882FF}" type="pres">
      <dgm:prSet presAssocID="{AFA14602-C2C3-4993-B464-C0439617D1CE}" presName="descendantText" presStyleLbl="alignAccFollowNode1" presStyleIdx="0" presStyleCnt="6" custScaleX="11563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9C7BD51-23DB-4ABC-8362-CB42DB66F402}" type="pres">
      <dgm:prSet presAssocID="{42A43094-7D35-47B1-984C-BE7DEA83E87A}" presName="sp" presStyleCnt="0"/>
      <dgm:spPr/>
    </dgm:pt>
    <dgm:pt modelId="{7EB230FB-EE8B-4507-A981-8C5CAA5C08BC}" type="pres">
      <dgm:prSet presAssocID="{1FFEB597-CC95-419B-9430-8CBEB84A650A}" presName="linNode" presStyleCnt="0"/>
      <dgm:spPr/>
    </dgm:pt>
    <dgm:pt modelId="{49BB22DF-4B0D-424C-9D41-F3FCF1377F7F}" type="pres">
      <dgm:prSet presAssocID="{1FFEB597-CC95-419B-9430-8CBEB84A650A}" presName="parentText" presStyleLbl="node1" presStyleIdx="1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5191B6E-E5B5-4692-9CAA-C1676BC44AE3}" type="pres">
      <dgm:prSet presAssocID="{1FFEB597-CC95-419B-9430-8CBEB84A650A}" presName="descendantText" presStyleLbl="alignAccFollowNode1" presStyleIdx="1" presStyleCnt="6" custScaleX="11563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9E5106C-C5E9-4A7B-9589-D2ACFBD96B52}" type="pres">
      <dgm:prSet presAssocID="{6F38DF5A-27AC-4D2B-B707-FE53B0ED13DA}" presName="sp" presStyleCnt="0"/>
      <dgm:spPr/>
    </dgm:pt>
    <dgm:pt modelId="{9FB503FF-76CA-494F-81B8-9FA50A0AD49D}" type="pres">
      <dgm:prSet presAssocID="{A89AA8B1-7046-4820-B647-293E74CCE815}" presName="linNode" presStyleCnt="0"/>
      <dgm:spPr/>
    </dgm:pt>
    <dgm:pt modelId="{5AAF0A73-D482-41C5-9D6F-C670456F5539}" type="pres">
      <dgm:prSet presAssocID="{A89AA8B1-7046-4820-B647-293E74CCE815}" presName="parentText" presStyleLbl="node1" presStyleIdx="2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FDC02F2-834B-46BF-B53F-8C297AC8CC3F}" type="pres">
      <dgm:prSet presAssocID="{A89AA8B1-7046-4820-B647-293E74CCE815}" presName="descendantText" presStyleLbl="alignAccFollowNode1" presStyleIdx="2" presStyleCnt="6" custScaleX="11563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1B2A869-8651-4324-9B3F-FE4727CF989B}" type="pres">
      <dgm:prSet presAssocID="{9A09B2A3-A09F-4852-BD34-32C34F305FA9}" presName="sp" presStyleCnt="0"/>
      <dgm:spPr/>
    </dgm:pt>
    <dgm:pt modelId="{35F3BE06-15C4-449A-A47E-437CC8C6FCFD}" type="pres">
      <dgm:prSet presAssocID="{7858975F-67E0-427E-B1EE-1CEE2FD3B7DC}" presName="linNode" presStyleCnt="0"/>
      <dgm:spPr/>
    </dgm:pt>
    <dgm:pt modelId="{B41CAE19-CC92-42F3-BE40-BED6952CDC3D}" type="pres">
      <dgm:prSet presAssocID="{7858975F-67E0-427E-B1EE-1CEE2FD3B7DC}" presName="parentText" presStyleLbl="node1" presStyleIdx="3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443BE36-7326-4C51-9C8C-619F18E5D008}" type="pres">
      <dgm:prSet presAssocID="{7858975F-67E0-427E-B1EE-1CEE2FD3B7DC}" presName="descendantText" presStyleLbl="alignAccFollowNode1" presStyleIdx="3" presStyleCnt="6" custScaleX="115630" custScaleY="13808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3339A53-EF7D-4053-8BE1-BE2B220C5558}" type="pres">
      <dgm:prSet presAssocID="{AB60BEBA-B212-4AEC-84F0-B8ACF5C7F5E2}" presName="sp" presStyleCnt="0"/>
      <dgm:spPr/>
    </dgm:pt>
    <dgm:pt modelId="{CD1F3F4D-88FF-4C03-BD89-274FBCC00695}" type="pres">
      <dgm:prSet presAssocID="{E8456B9C-2229-4F9B-8516-A95A3DAD26F4}" presName="linNode" presStyleCnt="0"/>
      <dgm:spPr/>
    </dgm:pt>
    <dgm:pt modelId="{3FF201B6-E4DF-4D0E-8402-DCF4D63EF7E6}" type="pres">
      <dgm:prSet presAssocID="{E8456B9C-2229-4F9B-8516-A95A3DAD26F4}" presName="parentText" presStyleLbl="node1" presStyleIdx="4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9F1171C-B353-4089-AB91-DA12105BE452}" type="pres">
      <dgm:prSet presAssocID="{E8456B9C-2229-4F9B-8516-A95A3DAD26F4}" presName="descendantText" presStyleLbl="alignAccFollowNode1" presStyleIdx="4" presStyleCnt="6" custScaleX="11563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78FE944-32A7-458D-9B03-D5BC673E4D33}" type="pres">
      <dgm:prSet presAssocID="{8A49495E-D467-4572-A6ED-EA3029FFF26F}" presName="sp" presStyleCnt="0"/>
      <dgm:spPr/>
    </dgm:pt>
    <dgm:pt modelId="{1A54B751-8AF1-404D-9154-6F66E1A34034}" type="pres">
      <dgm:prSet presAssocID="{1DFCB8D3-E8B1-40C6-AFF9-A0126BFF7958}" presName="linNode" presStyleCnt="0"/>
      <dgm:spPr/>
    </dgm:pt>
    <dgm:pt modelId="{75FAD78B-7FAD-4728-AB26-10D779E706D8}" type="pres">
      <dgm:prSet presAssocID="{1DFCB8D3-E8B1-40C6-AFF9-A0126BFF7958}" presName="parentText" presStyleLbl="node1" presStyleIdx="5" presStyleCnt="6" custScaleX="7241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7C3EC2E-9661-4543-A718-2985C477B884}" type="pres">
      <dgm:prSet presAssocID="{1DFCB8D3-E8B1-40C6-AFF9-A0126BFF7958}" presName="descendantText" presStyleLbl="alignAccFollowNode1" presStyleIdx="5" presStyleCnt="6" custScaleX="115630" custScaleY="12589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FFFD13E-8125-41A2-AAD5-90AAEAA26B99}" type="presOf" srcId="{6F7819C0-5375-4FFC-9C3C-5A749BF0CCE0}" destId="{8FDC02F2-834B-46BF-B53F-8C297AC8CC3F}" srcOrd="0" destOrd="0" presId="urn:microsoft.com/office/officeart/2005/8/layout/vList5"/>
    <dgm:cxn modelId="{883CBC70-DD75-4A7C-87ED-C560C87E8702}" srcId="{1DFCB8D3-E8B1-40C6-AFF9-A0126BFF7958}" destId="{68F89F71-8B3D-4603-9EA9-CBA5E4854BA0}" srcOrd="1" destOrd="0" parTransId="{320B5DCF-0C85-4B9F-A6F7-9CBEB43D53C0}" sibTransId="{EBFB4C9E-A491-43DC-928A-6905A0567EC1}"/>
    <dgm:cxn modelId="{B607D16C-20C7-4930-9932-FBBEEF32A49D}" type="presOf" srcId="{4EDF3729-31A3-4A9A-9E25-47F612319B9C}" destId="{89F1171C-B353-4089-AB91-DA12105BE452}" srcOrd="0" destOrd="0" presId="urn:microsoft.com/office/officeart/2005/8/layout/vList5"/>
    <dgm:cxn modelId="{7FA13214-3DF8-4144-9C6B-BAC7398EB170}" type="presOf" srcId="{E8456B9C-2229-4F9B-8516-A95A3DAD26F4}" destId="{3FF201B6-E4DF-4D0E-8402-DCF4D63EF7E6}" srcOrd="0" destOrd="0" presId="urn:microsoft.com/office/officeart/2005/8/layout/vList5"/>
    <dgm:cxn modelId="{24B756CD-E5A7-4296-B3C4-7751833FFE21}" srcId="{E8456B9C-2229-4F9B-8516-A95A3DAD26F4}" destId="{3230520B-F9A0-48A5-889F-26C49EDB6DA1}" srcOrd="1" destOrd="0" parTransId="{F8E838C7-D5B1-4F92-9777-B09EBC475116}" sibTransId="{2EFE3D31-BFA6-45DD-803F-B1E6AD0F5777}"/>
    <dgm:cxn modelId="{4A8E3646-093F-4DAB-A0E2-94353B6CC77B}" type="presOf" srcId="{3230520B-F9A0-48A5-889F-26C49EDB6DA1}" destId="{89F1171C-B353-4089-AB91-DA12105BE452}" srcOrd="0" destOrd="1" presId="urn:microsoft.com/office/officeart/2005/8/layout/vList5"/>
    <dgm:cxn modelId="{BE308FEA-5B41-426D-AD2F-D52D70809A96}" srcId="{78E24417-5166-417F-88CA-E1EAA1C08EDF}" destId="{A89AA8B1-7046-4820-B647-293E74CCE815}" srcOrd="2" destOrd="0" parTransId="{E90E5C4A-16D9-487A-A47D-BDD7164CBEB9}" sibTransId="{9A09B2A3-A09F-4852-BD34-32C34F305FA9}"/>
    <dgm:cxn modelId="{245E43E5-C3EF-4A2B-B688-CC880D3763F9}" srcId="{A89AA8B1-7046-4820-B647-293E74CCE815}" destId="{29191600-C468-460D-B1C9-81F3F63C2B3A}" srcOrd="1" destOrd="0" parTransId="{E1545F1B-60C6-48C8-8DD9-065B8C50CD15}" sibTransId="{04FCB5A9-6713-4356-8084-B75B13AC654E}"/>
    <dgm:cxn modelId="{B4C60A7B-F363-4F7C-86F7-5CCF4174DB31}" type="presOf" srcId="{A89AA8B1-7046-4820-B647-293E74CCE815}" destId="{5AAF0A73-D482-41C5-9D6F-C670456F5539}" srcOrd="0" destOrd="0" presId="urn:microsoft.com/office/officeart/2005/8/layout/vList5"/>
    <dgm:cxn modelId="{B98DB496-AD39-43D9-B308-1351804489F8}" type="presOf" srcId="{B9F37DBE-23FD-4B18-9B46-252D34E546D3}" destId="{67C3EC2E-9661-4543-A718-2985C477B884}" srcOrd="0" destOrd="0" presId="urn:microsoft.com/office/officeart/2005/8/layout/vList5"/>
    <dgm:cxn modelId="{E703A522-DF9E-4570-99CC-FEFFDB900060}" type="presOf" srcId="{03B8DC41-6AFB-4DCA-B277-28F7B3A82D03}" destId="{D5191B6E-E5B5-4692-9CAA-C1676BC44AE3}" srcOrd="0" destOrd="1" presId="urn:microsoft.com/office/officeart/2005/8/layout/vList5"/>
    <dgm:cxn modelId="{076039D1-F01E-4397-8704-EB7C1E65C45D}" srcId="{35124B3E-BDDD-42D8-8441-48D541220D1E}" destId="{03B8DC41-6AFB-4DCA-B277-28F7B3A82D03}" srcOrd="0" destOrd="0" parTransId="{2BE0E3C5-0E40-4B52-AA67-E872C54BB984}" sibTransId="{0386D754-0221-48DB-8DF8-D1714D03BDD5}"/>
    <dgm:cxn modelId="{36EA413F-330F-4CB7-95D0-B053D3A7DAB4}" srcId="{78E24417-5166-417F-88CA-E1EAA1C08EDF}" destId="{7858975F-67E0-427E-B1EE-1CEE2FD3B7DC}" srcOrd="3" destOrd="0" parTransId="{D38E6E45-EE51-4B39-A76B-FA380FEBD89D}" sibTransId="{AB60BEBA-B212-4AEC-84F0-B8ACF5C7F5E2}"/>
    <dgm:cxn modelId="{9A5F749C-18FD-4BF0-940C-2672411C485E}" srcId="{7858975F-67E0-427E-B1EE-1CEE2FD3B7DC}" destId="{C209DD77-6672-464D-A894-22B2E1710469}" srcOrd="0" destOrd="0" parTransId="{1CA5C780-EEE4-419B-ADA3-CD5099C2481F}" sibTransId="{12C404AE-DC74-4D84-B0C0-728DFE1D3F3E}"/>
    <dgm:cxn modelId="{97BDCB8F-0B35-4725-A4CC-A861EE8694B8}" srcId="{7858975F-67E0-427E-B1EE-1CEE2FD3B7DC}" destId="{4B3BFA5C-C4E3-4727-A646-5B0EC59F308E}" srcOrd="2" destOrd="0" parTransId="{E4C9694A-FF8B-4D17-9CEE-30321D981737}" sibTransId="{D9D3CC3A-9F64-49F3-A34A-359211B51585}"/>
    <dgm:cxn modelId="{9F624E05-8399-4452-96A8-E2A38384942C}" srcId="{AFA14602-C2C3-4993-B464-C0439617D1CE}" destId="{63E53003-C21A-43AD-BA4D-9A2A203F27B0}" srcOrd="0" destOrd="0" parTransId="{05DB31E6-051A-44D7-B85B-545FE999E0CA}" sibTransId="{519353C5-8298-4FAB-AFEF-D4413CC37BC9}"/>
    <dgm:cxn modelId="{ACAB5DA7-3B2C-49DE-8A02-DCEF96606ED9}" type="presOf" srcId="{68F89F71-8B3D-4603-9EA9-CBA5E4854BA0}" destId="{67C3EC2E-9661-4543-A718-2985C477B884}" srcOrd="0" destOrd="1" presId="urn:microsoft.com/office/officeart/2005/8/layout/vList5"/>
    <dgm:cxn modelId="{30043B16-F81A-4A0C-A358-A2D92BD2C980}" type="presOf" srcId="{C209DD77-6672-464D-A894-22B2E1710469}" destId="{1443BE36-7326-4C51-9C8C-619F18E5D008}" srcOrd="0" destOrd="0" presId="urn:microsoft.com/office/officeart/2005/8/layout/vList5"/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183E96AE-0905-4337-9EBF-0FDC32B10BF6}" type="presOf" srcId="{1DFCB8D3-E8B1-40C6-AFF9-A0126BFF7958}" destId="{75FAD78B-7FAD-4728-AB26-10D779E706D8}" srcOrd="0" destOrd="0" presId="urn:microsoft.com/office/officeart/2005/8/layout/vList5"/>
    <dgm:cxn modelId="{2D4843E2-BBFE-421B-921B-3EC9276DEFBB}" srcId="{A89AA8B1-7046-4820-B647-293E74CCE815}" destId="{6F7819C0-5375-4FFC-9C3C-5A749BF0CCE0}" srcOrd="0" destOrd="0" parTransId="{088F7427-8ED9-4D59-AE7E-7801973FE327}" sibTransId="{5B60A844-658E-4A11-A1B9-C65A89208FD7}"/>
    <dgm:cxn modelId="{6F6A8892-92AD-41B2-8BB2-0F020517D062}" type="presOf" srcId="{7858975F-67E0-427E-B1EE-1CEE2FD3B7DC}" destId="{B41CAE19-CC92-42F3-BE40-BED6952CDC3D}" srcOrd="0" destOrd="0" presId="urn:microsoft.com/office/officeart/2005/8/layout/vList5"/>
    <dgm:cxn modelId="{7F519BB4-8771-41CC-ABC3-6E1E4DC11CD3}" srcId="{1DFCB8D3-E8B1-40C6-AFF9-A0126BFF7958}" destId="{B9F37DBE-23FD-4B18-9B46-252D34E546D3}" srcOrd="0" destOrd="0" parTransId="{CFB9D8A5-F085-4983-B812-BFD5BBC7C32E}" sibTransId="{E57AE01B-16B2-4BA8-B663-0C9A8572BF1B}"/>
    <dgm:cxn modelId="{A72D168A-232C-4168-8733-B02998097BA6}" srcId="{78E24417-5166-417F-88CA-E1EAA1C08EDF}" destId="{1FFEB597-CC95-419B-9430-8CBEB84A650A}" srcOrd="1" destOrd="0" parTransId="{6D5DB687-6BCB-493F-8DE7-0955C6D9FBCF}" sibTransId="{6F38DF5A-27AC-4D2B-B707-FE53B0ED13DA}"/>
    <dgm:cxn modelId="{1C1841EE-A7AD-4BE5-9302-A154766FB73B}" type="presOf" srcId="{78E24417-5166-417F-88CA-E1EAA1C08EDF}" destId="{2AEF5431-DA26-4449-BE5E-58391598683E}" srcOrd="0" destOrd="0" presId="urn:microsoft.com/office/officeart/2005/8/layout/vList5"/>
    <dgm:cxn modelId="{B8DA2E9F-DE81-43C9-B30C-942B73B5EEDF}" type="presOf" srcId="{29191600-C468-460D-B1C9-81F3F63C2B3A}" destId="{8FDC02F2-834B-46BF-B53F-8C297AC8CC3F}" srcOrd="0" destOrd="1" presId="urn:microsoft.com/office/officeart/2005/8/layout/vList5"/>
    <dgm:cxn modelId="{7A787A4B-D15E-44DF-A3D3-28278E787150}" type="presOf" srcId="{4B3BFA5C-C4E3-4727-A646-5B0EC59F308E}" destId="{1443BE36-7326-4C51-9C8C-619F18E5D008}" srcOrd="0" destOrd="2" presId="urn:microsoft.com/office/officeart/2005/8/layout/vList5"/>
    <dgm:cxn modelId="{DFD861BB-38AB-4D9E-A76D-285418BD032D}" srcId="{7858975F-67E0-427E-B1EE-1CEE2FD3B7DC}" destId="{CBD9E346-E2F8-4B6A-80DB-F29A18DD8022}" srcOrd="1" destOrd="0" parTransId="{F7AB8307-D634-4FD7-A5B1-169696E0B9DB}" sibTransId="{17FDD302-3618-46D6-839E-FD79EFE207DF}"/>
    <dgm:cxn modelId="{4875C90D-C6D5-4F60-A84C-C6DAA030D0E2}" srcId="{1FFEB597-CC95-419B-9430-8CBEB84A650A}" destId="{35124B3E-BDDD-42D8-8441-48D541220D1E}" srcOrd="0" destOrd="0" parTransId="{E31E7F7D-B86D-4332-85C9-677758A297EA}" sibTransId="{9812BAA5-9C89-424E-AC84-922AB78348F4}"/>
    <dgm:cxn modelId="{9C7833A3-1610-44CC-B10A-62B1DC8517D1}" type="presOf" srcId="{35124B3E-BDDD-42D8-8441-48D541220D1E}" destId="{D5191B6E-E5B5-4692-9CAA-C1676BC44AE3}" srcOrd="0" destOrd="0" presId="urn:microsoft.com/office/officeart/2005/8/layout/vList5"/>
    <dgm:cxn modelId="{057F63EA-3DB5-423F-8266-1DDD04E1FE67}" srcId="{E8456B9C-2229-4F9B-8516-A95A3DAD26F4}" destId="{4EDF3729-31A3-4A9A-9E25-47F612319B9C}" srcOrd="0" destOrd="0" parTransId="{252C3E6D-7508-456F-9A94-87135112CFE9}" sibTransId="{E4821664-E992-45CC-A17D-C0E3824E0F2E}"/>
    <dgm:cxn modelId="{3558F7DE-8341-433E-A336-34C82283275B}" srcId="{78E24417-5166-417F-88CA-E1EAA1C08EDF}" destId="{E8456B9C-2229-4F9B-8516-A95A3DAD26F4}" srcOrd="4" destOrd="0" parTransId="{E614F5BF-507E-460B-9C6C-384692762DBC}" sibTransId="{8A49495E-D467-4572-A6ED-EA3029FFF26F}"/>
    <dgm:cxn modelId="{F2ED7FDE-0804-4CE4-B4E7-08C9DF618BA5}" type="presOf" srcId="{CBD9E346-E2F8-4B6A-80DB-F29A18DD8022}" destId="{1443BE36-7326-4C51-9C8C-619F18E5D008}" srcOrd="0" destOrd="1" presId="urn:microsoft.com/office/officeart/2005/8/layout/vList5"/>
    <dgm:cxn modelId="{E93A14CF-A952-4222-877A-967555D3B6F9}" type="presOf" srcId="{63E53003-C21A-43AD-BA4D-9A2A203F27B0}" destId="{9B5FC0C6-3F7C-4FEA-88D9-1EFDA05882FF}" srcOrd="0" destOrd="0" presId="urn:microsoft.com/office/officeart/2005/8/layout/vList5"/>
    <dgm:cxn modelId="{299329A3-6CB3-407A-A954-A9ADC047E2C0}" type="presOf" srcId="{1FFEB597-CC95-419B-9430-8CBEB84A650A}" destId="{49BB22DF-4B0D-424C-9D41-F3FCF1377F7F}" srcOrd="0" destOrd="0" presId="urn:microsoft.com/office/officeart/2005/8/layout/vList5"/>
    <dgm:cxn modelId="{3B992E19-454C-43B9-AE79-EF95FF4BB94E}" srcId="{78E24417-5166-417F-88CA-E1EAA1C08EDF}" destId="{1DFCB8D3-E8B1-40C6-AFF9-A0126BFF7958}" srcOrd="5" destOrd="0" parTransId="{398A78D3-7FE5-4F36-A27E-076DF7D64438}" sibTransId="{0A0283EC-5CAC-4741-8AAD-1EE9CC4207F5}"/>
    <dgm:cxn modelId="{15E2751D-1FEE-47AE-A9BC-DCD5F625C04B}" type="presOf" srcId="{AFA14602-C2C3-4993-B464-C0439617D1CE}" destId="{1C479F0B-C610-4C88-A4DB-38C5FDE7CD99}" srcOrd="0" destOrd="0" presId="urn:microsoft.com/office/officeart/2005/8/layout/vList5"/>
    <dgm:cxn modelId="{407DF38A-E29D-4C45-93C3-C976427DC6B9}" type="presParOf" srcId="{2AEF5431-DA26-4449-BE5E-58391598683E}" destId="{E43D12A8-9220-4F93-BBBD-757BF2B670A9}" srcOrd="0" destOrd="0" presId="urn:microsoft.com/office/officeart/2005/8/layout/vList5"/>
    <dgm:cxn modelId="{F071232E-FD4F-4D8D-958F-16D8F72D05AB}" type="presParOf" srcId="{E43D12A8-9220-4F93-BBBD-757BF2B670A9}" destId="{1C479F0B-C610-4C88-A4DB-38C5FDE7CD99}" srcOrd="0" destOrd="0" presId="urn:microsoft.com/office/officeart/2005/8/layout/vList5"/>
    <dgm:cxn modelId="{2B0F1D83-2995-487E-B98C-44459EFF1895}" type="presParOf" srcId="{E43D12A8-9220-4F93-BBBD-757BF2B670A9}" destId="{9B5FC0C6-3F7C-4FEA-88D9-1EFDA05882FF}" srcOrd="1" destOrd="0" presId="urn:microsoft.com/office/officeart/2005/8/layout/vList5"/>
    <dgm:cxn modelId="{86294B37-ABE4-4853-8E6B-55FE1B195A96}" type="presParOf" srcId="{2AEF5431-DA26-4449-BE5E-58391598683E}" destId="{19C7BD51-23DB-4ABC-8362-CB42DB66F402}" srcOrd="1" destOrd="0" presId="urn:microsoft.com/office/officeart/2005/8/layout/vList5"/>
    <dgm:cxn modelId="{0CDC9A50-6450-4D0F-B696-54FC84572DAA}" type="presParOf" srcId="{2AEF5431-DA26-4449-BE5E-58391598683E}" destId="{7EB230FB-EE8B-4507-A981-8C5CAA5C08BC}" srcOrd="2" destOrd="0" presId="urn:microsoft.com/office/officeart/2005/8/layout/vList5"/>
    <dgm:cxn modelId="{BE6087C8-06D6-42E3-B88C-FF2261B4E465}" type="presParOf" srcId="{7EB230FB-EE8B-4507-A981-8C5CAA5C08BC}" destId="{49BB22DF-4B0D-424C-9D41-F3FCF1377F7F}" srcOrd="0" destOrd="0" presId="urn:microsoft.com/office/officeart/2005/8/layout/vList5"/>
    <dgm:cxn modelId="{85E2B487-2495-45C9-8AA7-232CAC842991}" type="presParOf" srcId="{7EB230FB-EE8B-4507-A981-8C5CAA5C08BC}" destId="{D5191B6E-E5B5-4692-9CAA-C1676BC44AE3}" srcOrd="1" destOrd="0" presId="urn:microsoft.com/office/officeart/2005/8/layout/vList5"/>
    <dgm:cxn modelId="{D82C5249-54F6-44FA-835B-F2733B6467DB}" type="presParOf" srcId="{2AEF5431-DA26-4449-BE5E-58391598683E}" destId="{F9E5106C-C5E9-4A7B-9589-D2ACFBD96B52}" srcOrd="3" destOrd="0" presId="urn:microsoft.com/office/officeart/2005/8/layout/vList5"/>
    <dgm:cxn modelId="{14A1A303-CB32-4FBA-A32D-8A2237C8BC89}" type="presParOf" srcId="{2AEF5431-DA26-4449-BE5E-58391598683E}" destId="{9FB503FF-76CA-494F-81B8-9FA50A0AD49D}" srcOrd="4" destOrd="0" presId="urn:microsoft.com/office/officeart/2005/8/layout/vList5"/>
    <dgm:cxn modelId="{D49A9020-FFFC-4772-83AB-E2A8D7DC6077}" type="presParOf" srcId="{9FB503FF-76CA-494F-81B8-9FA50A0AD49D}" destId="{5AAF0A73-D482-41C5-9D6F-C670456F5539}" srcOrd="0" destOrd="0" presId="urn:microsoft.com/office/officeart/2005/8/layout/vList5"/>
    <dgm:cxn modelId="{CAFD10AB-74AD-4065-919E-819A5A3123A7}" type="presParOf" srcId="{9FB503FF-76CA-494F-81B8-9FA50A0AD49D}" destId="{8FDC02F2-834B-46BF-B53F-8C297AC8CC3F}" srcOrd="1" destOrd="0" presId="urn:microsoft.com/office/officeart/2005/8/layout/vList5"/>
    <dgm:cxn modelId="{1475E487-5005-4B95-93E7-4401707BDEF4}" type="presParOf" srcId="{2AEF5431-DA26-4449-BE5E-58391598683E}" destId="{A1B2A869-8651-4324-9B3F-FE4727CF989B}" srcOrd="5" destOrd="0" presId="urn:microsoft.com/office/officeart/2005/8/layout/vList5"/>
    <dgm:cxn modelId="{3D5BDCB6-1509-490F-8691-578928F8EC92}" type="presParOf" srcId="{2AEF5431-DA26-4449-BE5E-58391598683E}" destId="{35F3BE06-15C4-449A-A47E-437CC8C6FCFD}" srcOrd="6" destOrd="0" presId="urn:microsoft.com/office/officeart/2005/8/layout/vList5"/>
    <dgm:cxn modelId="{28CA6D83-1243-4344-B063-3D71D8D18E44}" type="presParOf" srcId="{35F3BE06-15C4-449A-A47E-437CC8C6FCFD}" destId="{B41CAE19-CC92-42F3-BE40-BED6952CDC3D}" srcOrd="0" destOrd="0" presId="urn:microsoft.com/office/officeart/2005/8/layout/vList5"/>
    <dgm:cxn modelId="{BEFADCF5-5982-4B43-802E-3F6898E2DEA9}" type="presParOf" srcId="{35F3BE06-15C4-449A-A47E-437CC8C6FCFD}" destId="{1443BE36-7326-4C51-9C8C-619F18E5D008}" srcOrd="1" destOrd="0" presId="urn:microsoft.com/office/officeart/2005/8/layout/vList5"/>
    <dgm:cxn modelId="{0B9914E0-4955-4107-BA3C-DE8F6E202562}" type="presParOf" srcId="{2AEF5431-DA26-4449-BE5E-58391598683E}" destId="{53339A53-EF7D-4053-8BE1-BE2B220C5558}" srcOrd="7" destOrd="0" presId="urn:microsoft.com/office/officeart/2005/8/layout/vList5"/>
    <dgm:cxn modelId="{605E915B-7169-4C90-9CFE-C71C6D467801}" type="presParOf" srcId="{2AEF5431-DA26-4449-BE5E-58391598683E}" destId="{CD1F3F4D-88FF-4C03-BD89-274FBCC00695}" srcOrd="8" destOrd="0" presId="urn:microsoft.com/office/officeart/2005/8/layout/vList5"/>
    <dgm:cxn modelId="{38B4C07F-88EC-4FA8-B3F7-D1D4B5CF5D8F}" type="presParOf" srcId="{CD1F3F4D-88FF-4C03-BD89-274FBCC00695}" destId="{3FF201B6-E4DF-4D0E-8402-DCF4D63EF7E6}" srcOrd="0" destOrd="0" presId="urn:microsoft.com/office/officeart/2005/8/layout/vList5"/>
    <dgm:cxn modelId="{281BEA94-8227-43A6-8622-B6F485ABEA37}" type="presParOf" srcId="{CD1F3F4D-88FF-4C03-BD89-274FBCC00695}" destId="{89F1171C-B353-4089-AB91-DA12105BE452}" srcOrd="1" destOrd="0" presId="urn:microsoft.com/office/officeart/2005/8/layout/vList5"/>
    <dgm:cxn modelId="{82954E19-3D53-4CCF-B411-709B04A82666}" type="presParOf" srcId="{2AEF5431-DA26-4449-BE5E-58391598683E}" destId="{178FE944-32A7-458D-9B03-D5BC673E4D33}" srcOrd="9" destOrd="0" presId="urn:microsoft.com/office/officeart/2005/8/layout/vList5"/>
    <dgm:cxn modelId="{90BB316B-6319-4D95-A5EA-317219ACB13F}" type="presParOf" srcId="{2AEF5431-DA26-4449-BE5E-58391598683E}" destId="{1A54B751-8AF1-404D-9154-6F66E1A34034}" srcOrd="10" destOrd="0" presId="urn:microsoft.com/office/officeart/2005/8/layout/vList5"/>
    <dgm:cxn modelId="{9F9075A1-4EBE-4D7E-89C5-DA34A19479BE}" type="presParOf" srcId="{1A54B751-8AF1-404D-9154-6F66E1A34034}" destId="{75FAD78B-7FAD-4728-AB26-10D779E706D8}" srcOrd="0" destOrd="0" presId="urn:microsoft.com/office/officeart/2005/8/layout/vList5"/>
    <dgm:cxn modelId="{DDD42D09-4AF3-4B15-8C8D-49657B1A31A7}" type="presParOf" srcId="{1A54B751-8AF1-404D-9154-6F66E1A34034}" destId="{67C3EC2E-9661-4543-A718-2985C477B88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72CD7F2-5DEF-5F4B-B033-221B91721D6E}" type="doc">
      <dgm:prSet loTypeId="urn:microsoft.com/office/officeart/2005/8/layout/vList2" loCatId="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CE832C51-2B7D-FA4F-A708-283704FF5BC1}">
      <dgm:prSet custT="1"/>
      <dgm:spPr/>
      <dgm:t>
        <a:bodyPr/>
        <a:lstStyle/>
        <a:p>
          <a:pPr algn="just" rtl="0"/>
          <a:r>
            <a:rPr lang="pt-BR" sz="2200" dirty="0" smtClean="0"/>
            <a:t>Operador Aeroportuário deve comprovar experiência em processamento de 35 milhões de passageiros/ano, em um único aeroporto, em pelo menos 1 ano nos últimos 5 anos</a:t>
          </a:r>
          <a:endParaRPr lang="pt-BR" sz="2200" dirty="0"/>
        </a:p>
      </dgm:t>
    </dgm:pt>
    <dgm:pt modelId="{1049BC0E-8CFA-9644-9BE1-D87FC4AA5F82}" type="parTrans" cxnId="{4AA66BD4-FFC2-B74A-9F69-AD778140C246}">
      <dgm:prSet/>
      <dgm:spPr/>
      <dgm:t>
        <a:bodyPr/>
        <a:lstStyle/>
        <a:p>
          <a:endParaRPr lang="en-US" sz="2300"/>
        </a:p>
      </dgm:t>
    </dgm:pt>
    <dgm:pt modelId="{BDD5EC44-F867-A443-B974-2175EDE15A52}" type="sibTrans" cxnId="{4AA66BD4-FFC2-B74A-9F69-AD778140C246}">
      <dgm:prSet/>
      <dgm:spPr/>
      <dgm:t>
        <a:bodyPr/>
        <a:lstStyle/>
        <a:p>
          <a:endParaRPr lang="en-US" sz="2300"/>
        </a:p>
      </dgm:t>
    </dgm:pt>
    <dgm:pt modelId="{63CCF7C7-5F3A-A94B-9A61-BCC736FBC709}">
      <dgm:prSet custT="1"/>
      <dgm:spPr/>
      <dgm:t>
        <a:bodyPr/>
        <a:lstStyle/>
        <a:p>
          <a:pPr rtl="0"/>
          <a:r>
            <a:rPr lang="pt-BR" sz="2300" dirty="0" smtClean="0"/>
            <a:t>Operador deve ter pelo menos 25% do consórcio</a:t>
          </a:r>
          <a:endParaRPr lang="pt-BR" sz="2300" dirty="0"/>
        </a:p>
      </dgm:t>
    </dgm:pt>
    <dgm:pt modelId="{09908C1C-A1F8-B245-9830-044532BB6959}" type="parTrans" cxnId="{6AB7BCAC-1F45-2C46-AB79-BBB385AC51C2}">
      <dgm:prSet/>
      <dgm:spPr/>
      <dgm:t>
        <a:bodyPr/>
        <a:lstStyle/>
        <a:p>
          <a:endParaRPr lang="en-US" sz="2300"/>
        </a:p>
      </dgm:t>
    </dgm:pt>
    <dgm:pt modelId="{7DE252AE-98F5-6242-8520-51E9ECD9AF96}" type="sibTrans" cxnId="{6AB7BCAC-1F45-2C46-AB79-BBB385AC51C2}">
      <dgm:prSet/>
      <dgm:spPr/>
      <dgm:t>
        <a:bodyPr/>
        <a:lstStyle/>
        <a:p>
          <a:endParaRPr lang="en-US" sz="2300"/>
        </a:p>
      </dgm:t>
    </dgm:pt>
    <dgm:pt modelId="{E1E87974-E520-3649-A3ED-92C658AA027C}">
      <dgm:prSet custT="1"/>
      <dgm:spPr/>
      <dgm:t>
        <a:bodyPr/>
        <a:lstStyle/>
        <a:p>
          <a:pPr rtl="0"/>
          <a:r>
            <a:rPr lang="pt-BR" sz="2300" dirty="0" smtClean="0"/>
            <a:t>Participação da Infraero mantida em 49%</a:t>
          </a:r>
          <a:endParaRPr lang="fr-FR" sz="2300" dirty="0"/>
        </a:p>
      </dgm:t>
    </dgm:pt>
    <dgm:pt modelId="{75BF4724-86F1-8349-B6F4-234EF95DB7B2}" type="parTrans" cxnId="{E314A9EA-DEFD-284F-95DE-33D7E5616727}">
      <dgm:prSet/>
      <dgm:spPr/>
      <dgm:t>
        <a:bodyPr/>
        <a:lstStyle/>
        <a:p>
          <a:endParaRPr lang="en-US" sz="2300"/>
        </a:p>
      </dgm:t>
    </dgm:pt>
    <dgm:pt modelId="{1FD40448-17BB-CF4B-9EF1-420F20020BF4}" type="sibTrans" cxnId="{E314A9EA-DEFD-284F-95DE-33D7E5616727}">
      <dgm:prSet/>
      <dgm:spPr/>
      <dgm:t>
        <a:bodyPr/>
        <a:lstStyle/>
        <a:p>
          <a:endParaRPr lang="en-US" sz="2300"/>
        </a:p>
      </dgm:t>
    </dgm:pt>
    <dgm:pt modelId="{B5BEF3F7-2A97-5745-8EF1-038D30A33B8C}">
      <dgm:prSet custT="1"/>
      <dgm:spPr/>
      <dgm:t>
        <a:bodyPr/>
        <a:lstStyle/>
        <a:p>
          <a:pPr algn="just" rtl="0"/>
          <a:r>
            <a:rPr lang="pt-BR" sz="2300" dirty="0" smtClean="0"/>
            <a:t>Cada consórcio só pode vencer um único aeroporto. Vedada participação dos vencedores das concessões de Guarulhos (SP), Viracopos (SP) e Brasília (DF)</a:t>
          </a:r>
          <a:endParaRPr lang="pt-BR" sz="2300" dirty="0"/>
        </a:p>
      </dgm:t>
    </dgm:pt>
    <dgm:pt modelId="{8D210947-3E13-1C44-ACB5-770BD90A57E0}" type="parTrans" cxnId="{F55514C9-944C-9F4D-B7A5-5A4AF01594BC}">
      <dgm:prSet/>
      <dgm:spPr/>
      <dgm:t>
        <a:bodyPr/>
        <a:lstStyle/>
        <a:p>
          <a:endParaRPr lang="en-US" sz="2300"/>
        </a:p>
      </dgm:t>
    </dgm:pt>
    <dgm:pt modelId="{CB353190-C4B1-F34E-9006-9A1BE31837AD}" type="sibTrans" cxnId="{F55514C9-944C-9F4D-B7A5-5A4AF01594BC}">
      <dgm:prSet/>
      <dgm:spPr/>
      <dgm:t>
        <a:bodyPr/>
        <a:lstStyle/>
        <a:p>
          <a:endParaRPr lang="en-US" sz="2300"/>
        </a:p>
      </dgm:t>
    </dgm:pt>
    <dgm:pt modelId="{D2E3A5B9-AB5F-694B-96A9-41F8217EA6FE}" type="pres">
      <dgm:prSet presAssocID="{C72CD7F2-5DEF-5F4B-B033-221B91721D6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3B9953A-08E4-BA46-993E-47E1025264ED}" type="pres">
      <dgm:prSet presAssocID="{CE832C51-2B7D-FA4F-A708-283704FF5BC1}" presName="parentText" presStyleLbl="node1" presStyleIdx="0" presStyleCnt="4" custScaleY="117465" custLinFactNeighborY="-90120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169A602-0D7C-4301-BED5-4EB02F6762AD}" type="pres">
      <dgm:prSet presAssocID="{BDD5EC44-F867-A443-B974-2175EDE15A52}" presName="spacer" presStyleCnt="0"/>
      <dgm:spPr/>
    </dgm:pt>
    <dgm:pt modelId="{A6ED7EB2-B325-4A6C-B939-FFB78D110F31}" type="pres">
      <dgm:prSet presAssocID="{63CCF7C7-5F3A-A94B-9A61-BCC736FBC709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6FCC7E5-3C02-4B83-929F-22B12EF83D54}" type="pres">
      <dgm:prSet presAssocID="{7DE252AE-98F5-6242-8520-51E9ECD9AF96}" presName="spacer" presStyleCnt="0"/>
      <dgm:spPr/>
    </dgm:pt>
    <dgm:pt modelId="{E6E7EBF9-2382-3246-B793-08458108FB92}" type="pres">
      <dgm:prSet presAssocID="{E1E87974-E520-3649-A3ED-92C658AA027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16C0451-EA42-48F7-80B8-BB07AE7DBAEA}" type="pres">
      <dgm:prSet presAssocID="{1FD40448-17BB-CF4B-9EF1-420F20020BF4}" presName="spacer" presStyleCnt="0"/>
      <dgm:spPr/>
    </dgm:pt>
    <dgm:pt modelId="{54B47DB7-CA4D-4A21-A523-79FCE386B0B4}" type="pres">
      <dgm:prSet presAssocID="{B5BEF3F7-2A97-5745-8EF1-038D30A33B8C}" presName="parentText" presStyleLbl="node1" presStyleIdx="3" presStyleCnt="4" custScaleY="105692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4AA66BD4-FFC2-B74A-9F69-AD778140C246}" srcId="{C72CD7F2-5DEF-5F4B-B033-221B91721D6E}" destId="{CE832C51-2B7D-FA4F-A708-283704FF5BC1}" srcOrd="0" destOrd="0" parTransId="{1049BC0E-8CFA-9644-9BE1-D87FC4AA5F82}" sibTransId="{BDD5EC44-F867-A443-B974-2175EDE15A52}"/>
    <dgm:cxn modelId="{5D8D517D-C3BD-4A63-AE2C-DEE1398EA74B}" type="presOf" srcId="{B5BEF3F7-2A97-5745-8EF1-038D30A33B8C}" destId="{54B47DB7-CA4D-4A21-A523-79FCE386B0B4}" srcOrd="0" destOrd="0" presId="urn:microsoft.com/office/officeart/2005/8/layout/vList2"/>
    <dgm:cxn modelId="{CC2573F8-6CB3-44DA-886B-0877C669B2DD}" type="presOf" srcId="{63CCF7C7-5F3A-A94B-9A61-BCC736FBC709}" destId="{A6ED7EB2-B325-4A6C-B939-FFB78D110F31}" srcOrd="0" destOrd="0" presId="urn:microsoft.com/office/officeart/2005/8/layout/vList2"/>
    <dgm:cxn modelId="{FCEB7A1E-959E-4173-8EA9-0A24ADBC98D0}" type="presOf" srcId="{E1E87974-E520-3649-A3ED-92C658AA027C}" destId="{E6E7EBF9-2382-3246-B793-08458108FB92}" srcOrd="0" destOrd="0" presId="urn:microsoft.com/office/officeart/2005/8/layout/vList2"/>
    <dgm:cxn modelId="{6AB7BCAC-1F45-2C46-AB79-BBB385AC51C2}" srcId="{C72CD7F2-5DEF-5F4B-B033-221B91721D6E}" destId="{63CCF7C7-5F3A-A94B-9A61-BCC736FBC709}" srcOrd="1" destOrd="0" parTransId="{09908C1C-A1F8-B245-9830-044532BB6959}" sibTransId="{7DE252AE-98F5-6242-8520-51E9ECD9AF96}"/>
    <dgm:cxn modelId="{3CFB9CFD-1216-41D6-8E96-254AA6E446CC}" type="presOf" srcId="{CE832C51-2B7D-FA4F-A708-283704FF5BC1}" destId="{73B9953A-08E4-BA46-993E-47E1025264ED}" srcOrd="0" destOrd="0" presId="urn:microsoft.com/office/officeart/2005/8/layout/vList2"/>
    <dgm:cxn modelId="{E314A9EA-DEFD-284F-95DE-33D7E5616727}" srcId="{C72CD7F2-5DEF-5F4B-B033-221B91721D6E}" destId="{E1E87974-E520-3649-A3ED-92C658AA027C}" srcOrd="2" destOrd="0" parTransId="{75BF4724-86F1-8349-B6F4-234EF95DB7B2}" sibTransId="{1FD40448-17BB-CF4B-9EF1-420F20020BF4}"/>
    <dgm:cxn modelId="{F55514C9-944C-9F4D-B7A5-5A4AF01594BC}" srcId="{C72CD7F2-5DEF-5F4B-B033-221B91721D6E}" destId="{B5BEF3F7-2A97-5745-8EF1-038D30A33B8C}" srcOrd="3" destOrd="0" parTransId="{8D210947-3E13-1C44-ACB5-770BD90A57E0}" sibTransId="{CB353190-C4B1-F34E-9006-9A1BE31837AD}"/>
    <dgm:cxn modelId="{95C3F36E-A13F-462B-A2A4-6371B478A0B6}" type="presOf" srcId="{C72CD7F2-5DEF-5F4B-B033-221B91721D6E}" destId="{D2E3A5B9-AB5F-694B-96A9-41F8217EA6FE}" srcOrd="0" destOrd="0" presId="urn:microsoft.com/office/officeart/2005/8/layout/vList2"/>
    <dgm:cxn modelId="{5AA0CBA1-F701-4CFD-9D83-EDCAC8116B76}" type="presParOf" srcId="{D2E3A5B9-AB5F-694B-96A9-41F8217EA6FE}" destId="{73B9953A-08E4-BA46-993E-47E1025264ED}" srcOrd="0" destOrd="0" presId="urn:microsoft.com/office/officeart/2005/8/layout/vList2"/>
    <dgm:cxn modelId="{2A483B20-4F10-493D-8663-268F2ECFA53B}" type="presParOf" srcId="{D2E3A5B9-AB5F-694B-96A9-41F8217EA6FE}" destId="{8169A602-0D7C-4301-BED5-4EB02F6762AD}" srcOrd="1" destOrd="0" presId="urn:microsoft.com/office/officeart/2005/8/layout/vList2"/>
    <dgm:cxn modelId="{2E1BBBDA-E66F-47B3-9ADE-6B7FA556E7AF}" type="presParOf" srcId="{D2E3A5B9-AB5F-694B-96A9-41F8217EA6FE}" destId="{A6ED7EB2-B325-4A6C-B939-FFB78D110F31}" srcOrd="2" destOrd="0" presId="urn:microsoft.com/office/officeart/2005/8/layout/vList2"/>
    <dgm:cxn modelId="{BEE3196F-7180-4C36-B728-F2EE6F5F0C25}" type="presParOf" srcId="{D2E3A5B9-AB5F-694B-96A9-41F8217EA6FE}" destId="{A6FCC7E5-3C02-4B83-929F-22B12EF83D54}" srcOrd="3" destOrd="0" presId="urn:microsoft.com/office/officeart/2005/8/layout/vList2"/>
    <dgm:cxn modelId="{661F55B4-846E-4949-A0F5-FB8FCD6CF81E}" type="presParOf" srcId="{D2E3A5B9-AB5F-694B-96A9-41F8217EA6FE}" destId="{E6E7EBF9-2382-3246-B793-08458108FB92}" srcOrd="4" destOrd="0" presId="urn:microsoft.com/office/officeart/2005/8/layout/vList2"/>
    <dgm:cxn modelId="{518A3490-86CC-4A05-92EF-729233183736}" type="presParOf" srcId="{D2E3A5B9-AB5F-694B-96A9-41F8217EA6FE}" destId="{816C0451-EA42-48F7-80B8-BB07AE7DBAEA}" srcOrd="5" destOrd="0" presId="urn:microsoft.com/office/officeart/2005/8/layout/vList2"/>
    <dgm:cxn modelId="{8F31FA86-C15D-4889-9B2E-3445D58BDB51}" type="presParOf" srcId="{D2E3A5B9-AB5F-694B-96A9-41F8217EA6FE}" destId="{54B47DB7-CA4D-4A21-A523-79FCE386B0B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C752AD0-B653-4272-B0EA-7558025594E3}" type="doc">
      <dgm:prSet loTypeId="urn:microsoft.com/office/officeart/2005/8/layout/vList2" loCatId="list" qsTypeId="urn:microsoft.com/office/officeart/2005/8/quickstyle/simple2" qsCatId="simple" csTypeId="urn:microsoft.com/office/officeart/2005/8/colors/accent1_4" csCatId="accent1"/>
      <dgm:spPr/>
      <dgm:t>
        <a:bodyPr/>
        <a:lstStyle/>
        <a:p>
          <a:endParaRPr lang="pt-BR"/>
        </a:p>
      </dgm:t>
    </dgm:pt>
    <dgm:pt modelId="{A63A1681-F12E-48A9-A238-B580F2BFCA51}">
      <dgm:prSet/>
      <dgm:spPr/>
      <dgm:t>
        <a:bodyPr/>
        <a:lstStyle/>
        <a:p>
          <a:pPr algn="ctr" rtl="0"/>
          <a:r>
            <a:rPr lang="pt-BR" b="1" dirty="0" smtClean="0"/>
            <a:t>Transferência da operação e adequação da infraestrutura</a:t>
          </a:r>
          <a:endParaRPr lang="pt-BR" dirty="0"/>
        </a:p>
      </dgm:t>
    </dgm:pt>
    <dgm:pt modelId="{66C86599-3890-48E5-813C-7D826A03342F}" type="parTrans" cxnId="{A17B2710-A820-4D9E-9A31-2A8CCD8CADA1}">
      <dgm:prSet/>
      <dgm:spPr/>
      <dgm:t>
        <a:bodyPr/>
        <a:lstStyle/>
        <a:p>
          <a:endParaRPr lang="pt-BR"/>
        </a:p>
      </dgm:t>
    </dgm:pt>
    <dgm:pt modelId="{F53F2DEB-C781-4008-94E2-AABC7E2EFB7F}" type="sibTrans" cxnId="{A17B2710-A820-4D9E-9A31-2A8CCD8CADA1}">
      <dgm:prSet/>
      <dgm:spPr/>
      <dgm:t>
        <a:bodyPr/>
        <a:lstStyle/>
        <a:p>
          <a:endParaRPr lang="pt-BR"/>
        </a:p>
      </dgm:t>
    </dgm:pt>
    <dgm:pt modelId="{3B509325-53E4-47F4-9B84-6109BFCD6F0D}" type="pres">
      <dgm:prSet presAssocID="{4C752AD0-B653-4272-B0EA-7558025594E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444A07F-490D-4848-9617-2C40E13EA431}" type="pres">
      <dgm:prSet presAssocID="{A63A1681-F12E-48A9-A238-B580F2BFCA5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9FA154BF-9611-4DBF-A61A-AC0F03C2EC67}" type="presOf" srcId="{A63A1681-F12E-48A9-A238-B580F2BFCA51}" destId="{D444A07F-490D-4848-9617-2C40E13EA431}" srcOrd="0" destOrd="0" presId="urn:microsoft.com/office/officeart/2005/8/layout/vList2"/>
    <dgm:cxn modelId="{7814C355-C35E-49BA-9ABA-0A689834B60C}" type="presOf" srcId="{4C752AD0-B653-4272-B0EA-7558025594E3}" destId="{3B509325-53E4-47F4-9B84-6109BFCD6F0D}" srcOrd="0" destOrd="0" presId="urn:microsoft.com/office/officeart/2005/8/layout/vList2"/>
    <dgm:cxn modelId="{A17B2710-A820-4D9E-9A31-2A8CCD8CADA1}" srcId="{4C752AD0-B653-4272-B0EA-7558025594E3}" destId="{A63A1681-F12E-48A9-A238-B580F2BFCA51}" srcOrd="0" destOrd="0" parTransId="{66C86599-3890-48E5-813C-7D826A03342F}" sibTransId="{F53F2DEB-C781-4008-94E2-AABC7E2EFB7F}"/>
    <dgm:cxn modelId="{787F05C0-C810-4A9E-9E63-5BB3CD77FB49}" type="presParOf" srcId="{3B509325-53E4-47F4-9B84-6109BFCD6F0D}" destId="{D444A07F-490D-4848-9617-2C40E13EA43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4452996-96FE-4F65-84C7-2BFB74091E20}" type="doc">
      <dgm:prSet loTypeId="urn:microsoft.com/office/officeart/2005/8/layout/vList2" loCatId="list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ECC5EEE3-1A57-4002-80F7-49ED7BCBE371}">
      <dgm:prSet custT="1"/>
      <dgm:spPr/>
      <dgm:t>
        <a:bodyPr/>
        <a:lstStyle/>
        <a:p>
          <a:pPr rtl="0"/>
          <a:r>
            <a:rPr lang="pt-BR" sz="2000" b="1" dirty="0" smtClean="0"/>
            <a:t>Fase I-B: </a:t>
          </a:r>
          <a:r>
            <a:rPr lang="pt-BR" sz="2000" dirty="0" smtClean="0"/>
            <a:t>Investimentos iniciais pátio e terminal de passageiros. Adequação da infraestrutura ao nível de serviço – 30 de abril de 2016 – Olimpíadas</a:t>
          </a:r>
          <a:endParaRPr lang="pt-BR" sz="2000" dirty="0"/>
        </a:p>
      </dgm:t>
    </dgm:pt>
    <dgm:pt modelId="{03DFCD5C-CE1D-42E7-9592-FD208B20FD84}" type="parTrans" cxnId="{C4F8867D-155F-41E9-952B-FCF7BFB91005}">
      <dgm:prSet/>
      <dgm:spPr/>
      <dgm:t>
        <a:bodyPr/>
        <a:lstStyle/>
        <a:p>
          <a:endParaRPr lang="pt-BR"/>
        </a:p>
      </dgm:t>
    </dgm:pt>
    <dgm:pt modelId="{93FB1115-6976-4F5D-BBF6-63BBA3B32B70}" type="sibTrans" cxnId="{C4F8867D-155F-41E9-952B-FCF7BFB91005}">
      <dgm:prSet/>
      <dgm:spPr/>
      <dgm:t>
        <a:bodyPr/>
        <a:lstStyle/>
        <a:p>
          <a:endParaRPr lang="pt-BR"/>
        </a:p>
      </dgm:t>
    </dgm:pt>
    <dgm:pt modelId="{8047316C-5B23-43F3-9351-C0F8EC3A6867}" type="pres">
      <dgm:prSet presAssocID="{C4452996-96FE-4F65-84C7-2BFB74091E2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F878CFA-BD1C-4E17-B75B-032A12B7EFD4}" type="pres">
      <dgm:prSet presAssocID="{ECC5EEE3-1A57-4002-80F7-49ED7BCBE37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DA528E9D-0565-4701-8D3C-CE1985232860}" type="presOf" srcId="{ECC5EEE3-1A57-4002-80F7-49ED7BCBE371}" destId="{7F878CFA-BD1C-4E17-B75B-032A12B7EFD4}" srcOrd="0" destOrd="0" presId="urn:microsoft.com/office/officeart/2005/8/layout/vList2"/>
    <dgm:cxn modelId="{C4F8867D-155F-41E9-952B-FCF7BFB91005}" srcId="{C4452996-96FE-4F65-84C7-2BFB74091E20}" destId="{ECC5EEE3-1A57-4002-80F7-49ED7BCBE371}" srcOrd="0" destOrd="0" parTransId="{03DFCD5C-CE1D-42E7-9592-FD208B20FD84}" sibTransId="{93FB1115-6976-4F5D-BBF6-63BBA3B32B70}"/>
    <dgm:cxn modelId="{83FB00C5-1F93-47BB-9436-6C0F4B1A96ED}" type="presOf" srcId="{C4452996-96FE-4F65-84C7-2BFB74091E20}" destId="{8047316C-5B23-43F3-9351-C0F8EC3A6867}" srcOrd="0" destOrd="0" presId="urn:microsoft.com/office/officeart/2005/8/layout/vList2"/>
    <dgm:cxn modelId="{17A28923-B52B-4C71-AFB5-A7838F4600B9}" type="presParOf" srcId="{8047316C-5B23-43F3-9351-C0F8EC3A6867}" destId="{7F878CFA-BD1C-4E17-B75B-032A12B7EFD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A53E21A-2642-4C42-BD88-1FC4A1D38DB0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6C39FAE-B514-4274-BE11-4DCBB1C5EF97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sz="1600" b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Investimentos Obrigatórios e Melhorias dos Serviços</a:t>
          </a:r>
          <a:endParaRPr lang="pt-BR" sz="1600" b="1" dirty="0">
            <a:solidFill>
              <a:schemeClr val="accent1">
                <a:lumMod val="75000"/>
              </a:schemeClr>
            </a:solidFill>
          </a:endParaRPr>
        </a:p>
      </dgm:t>
    </dgm:pt>
    <dgm:pt modelId="{DAA8B426-61B6-45FC-87E0-772CB068CD3F}" type="parTrans" cxnId="{9456E328-11F5-4782-8640-6787AA66B278}">
      <dgm:prSet/>
      <dgm:spPr/>
      <dgm:t>
        <a:bodyPr/>
        <a:lstStyle/>
        <a:p>
          <a:endParaRPr lang="pt-BR" sz="2000"/>
        </a:p>
      </dgm:t>
    </dgm:pt>
    <dgm:pt modelId="{E581CD80-B8C5-4C4E-8EA4-43A05482E603}" type="sibTrans" cxnId="{9456E328-11F5-4782-8640-6787AA66B278}">
      <dgm:prSet custT="1"/>
      <dgm:spPr/>
      <dgm:t>
        <a:bodyPr/>
        <a:lstStyle/>
        <a:p>
          <a:endParaRPr lang="pt-BR" sz="1800"/>
        </a:p>
      </dgm:t>
    </dgm:pt>
    <dgm:pt modelId="{C7755134-EA13-40D8-B8CD-50C1D00F1BFB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sz="1600" b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Recomposição do nível de serviço: parâmetros mínimos de dimensionamento</a:t>
          </a:r>
          <a:endParaRPr lang="pt-BR" sz="1600" b="1" dirty="0">
            <a:solidFill>
              <a:schemeClr val="accent1">
                <a:lumMod val="75000"/>
              </a:schemeClr>
            </a:solidFill>
          </a:endParaRPr>
        </a:p>
      </dgm:t>
    </dgm:pt>
    <dgm:pt modelId="{3A1131A3-D910-498F-A92E-CD5C140C8158}" type="parTrans" cxnId="{5F784269-2D3A-483B-BAE9-F5F3E9FE9E7E}">
      <dgm:prSet/>
      <dgm:spPr/>
      <dgm:t>
        <a:bodyPr/>
        <a:lstStyle/>
        <a:p>
          <a:endParaRPr lang="pt-BR" sz="2000"/>
        </a:p>
      </dgm:t>
    </dgm:pt>
    <dgm:pt modelId="{23B46DB1-9CD7-438B-BAD1-91B9449E4D24}" type="sibTrans" cxnId="{5F784269-2D3A-483B-BAE9-F5F3E9FE9E7E}">
      <dgm:prSet custT="1"/>
      <dgm:spPr/>
      <dgm:t>
        <a:bodyPr/>
        <a:lstStyle/>
        <a:p>
          <a:endParaRPr lang="pt-BR" sz="1800"/>
        </a:p>
      </dgm:t>
    </dgm:pt>
    <dgm:pt modelId="{ED3B00ED-B214-436E-B2B0-8B71DAE3C06E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sz="1600" b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Manutenção do nível de serviço: Gatilho de Investimentos</a:t>
          </a:r>
          <a:endParaRPr lang="pt-BR" sz="1600" b="1" dirty="0">
            <a:solidFill>
              <a:schemeClr val="accent1">
                <a:lumMod val="75000"/>
              </a:schemeClr>
            </a:solidFill>
          </a:endParaRPr>
        </a:p>
      </dgm:t>
    </dgm:pt>
    <dgm:pt modelId="{3EA85A0F-D7F9-4578-8C37-20ED47C0327C}" type="parTrans" cxnId="{43D68C96-23AB-48EA-BA9E-A7C7A5F595E1}">
      <dgm:prSet/>
      <dgm:spPr/>
      <dgm:t>
        <a:bodyPr/>
        <a:lstStyle/>
        <a:p>
          <a:endParaRPr lang="pt-BR" sz="2000"/>
        </a:p>
      </dgm:t>
    </dgm:pt>
    <dgm:pt modelId="{335CA598-5623-46DE-A1EA-DF10E58AC4AB}" type="sibTrans" cxnId="{43D68C96-23AB-48EA-BA9E-A7C7A5F595E1}">
      <dgm:prSet/>
      <dgm:spPr/>
      <dgm:t>
        <a:bodyPr/>
        <a:lstStyle/>
        <a:p>
          <a:endParaRPr lang="pt-BR" sz="2000"/>
        </a:p>
      </dgm:t>
    </dgm:pt>
    <dgm:pt modelId="{5C9B5DC6-BAAE-4EAA-9ECF-C1FFD74C6DCB}" type="pres">
      <dgm:prSet presAssocID="{8A53E21A-2642-4C42-BD88-1FC4A1D38DB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93876DC-90FB-4747-8583-7584D397C747}" type="pres">
      <dgm:prSet presAssocID="{8A53E21A-2642-4C42-BD88-1FC4A1D38DB0}" presName="dummyMaxCanvas" presStyleCnt="0">
        <dgm:presLayoutVars/>
      </dgm:prSet>
      <dgm:spPr/>
    </dgm:pt>
    <dgm:pt modelId="{A6F493F9-7553-4876-9ADD-5D4A2262C501}" type="pres">
      <dgm:prSet presAssocID="{8A53E21A-2642-4C42-BD88-1FC4A1D38DB0}" presName="ThreeNodes_1" presStyleLbl="node1" presStyleIdx="0" presStyleCnt="3" custScaleX="102798" custScaleY="116723" custRadScaleRad="105068" custRadScaleInc="-1200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5EDD0D-6D8E-41A6-843A-1D1C1FEAF898}" type="pres">
      <dgm:prSet presAssocID="{8A53E21A-2642-4C42-BD88-1FC4A1D38DB0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393166-051F-4D2A-A3F0-E84F9DB52F5B}" type="pres">
      <dgm:prSet presAssocID="{8A53E21A-2642-4C42-BD88-1FC4A1D38DB0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1734D1C-68FA-45CF-95CD-6752F6D237A8}" type="pres">
      <dgm:prSet presAssocID="{8A53E21A-2642-4C42-BD88-1FC4A1D38DB0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E9E55D2-7761-400C-8749-414DF3301F03}" type="pres">
      <dgm:prSet presAssocID="{8A53E21A-2642-4C42-BD88-1FC4A1D38DB0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EF3069-00E4-4865-9546-909BD04B3ECC}" type="pres">
      <dgm:prSet presAssocID="{8A53E21A-2642-4C42-BD88-1FC4A1D38DB0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6E15D4-6952-428D-BBC1-300B5BC75F88}" type="pres">
      <dgm:prSet presAssocID="{8A53E21A-2642-4C42-BD88-1FC4A1D38DB0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517C6A1-5E6F-4D8B-962D-BA29A5F60CED}" type="pres">
      <dgm:prSet presAssocID="{8A53E21A-2642-4C42-BD88-1FC4A1D38DB0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692BA78E-1B17-4DC9-98D7-D6D4366D1BD9}" type="presOf" srcId="{23B46DB1-9CD7-438B-BAD1-91B9449E4D24}" destId="{7E9E55D2-7761-400C-8749-414DF3301F03}" srcOrd="0" destOrd="0" presId="urn:microsoft.com/office/officeart/2005/8/layout/vProcess5"/>
    <dgm:cxn modelId="{B59AF9D6-E0F0-469D-86EA-4310D24E0C72}" type="presOf" srcId="{ED3B00ED-B214-436E-B2B0-8B71DAE3C06E}" destId="{DE393166-051F-4D2A-A3F0-E84F9DB52F5B}" srcOrd="0" destOrd="0" presId="urn:microsoft.com/office/officeart/2005/8/layout/vProcess5"/>
    <dgm:cxn modelId="{45527EE7-BA3A-4FB0-BE53-C65C1CC0D4AE}" type="presOf" srcId="{C7755134-EA13-40D8-B8CD-50C1D00F1BFB}" destId="{625EDD0D-6D8E-41A6-843A-1D1C1FEAF898}" srcOrd="0" destOrd="0" presId="urn:microsoft.com/office/officeart/2005/8/layout/vProcess5"/>
    <dgm:cxn modelId="{0EF4CB1C-619F-4820-8C46-98111591B1DC}" type="presOf" srcId="{C7755134-EA13-40D8-B8CD-50C1D00F1BFB}" destId="{216E15D4-6952-428D-BBC1-300B5BC75F88}" srcOrd="1" destOrd="0" presId="urn:microsoft.com/office/officeart/2005/8/layout/vProcess5"/>
    <dgm:cxn modelId="{83FE8C9D-3814-465B-846D-B9F061C8840C}" type="presOf" srcId="{86C39FAE-B514-4274-BE11-4DCBB1C5EF97}" destId="{A6F493F9-7553-4876-9ADD-5D4A2262C501}" srcOrd="0" destOrd="0" presId="urn:microsoft.com/office/officeart/2005/8/layout/vProcess5"/>
    <dgm:cxn modelId="{921429C6-A3B3-436D-86C6-1575AC6A3184}" type="presOf" srcId="{ED3B00ED-B214-436E-B2B0-8B71DAE3C06E}" destId="{8517C6A1-5E6F-4D8B-962D-BA29A5F60CED}" srcOrd="1" destOrd="0" presId="urn:microsoft.com/office/officeart/2005/8/layout/vProcess5"/>
    <dgm:cxn modelId="{43D68C96-23AB-48EA-BA9E-A7C7A5F595E1}" srcId="{8A53E21A-2642-4C42-BD88-1FC4A1D38DB0}" destId="{ED3B00ED-B214-436E-B2B0-8B71DAE3C06E}" srcOrd="2" destOrd="0" parTransId="{3EA85A0F-D7F9-4578-8C37-20ED47C0327C}" sibTransId="{335CA598-5623-46DE-A1EA-DF10E58AC4AB}"/>
    <dgm:cxn modelId="{8D142370-FC85-4FF6-AAFE-39BA4ECC722B}" type="presOf" srcId="{86C39FAE-B514-4274-BE11-4DCBB1C5EF97}" destId="{FAEF3069-00E4-4865-9546-909BD04B3ECC}" srcOrd="1" destOrd="0" presId="urn:microsoft.com/office/officeart/2005/8/layout/vProcess5"/>
    <dgm:cxn modelId="{E2027D11-77BE-4B9C-9C78-069A1E22439E}" type="presOf" srcId="{E581CD80-B8C5-4C4E-8EA4-43A05482E603}" destId="{91734D1C-68FA-45CF-95CD-6752F6D237A8}" srcOrd="0" destOrd="0" presId="urn:microsoft.com/office/officeart/2005/8/layout/vProcess5"/>
    <dgm:cxn modelId="{E6FB11AB-A3E2-4E02-944F-BFA6E24F9864}" type="presOf" srcId="{8A53E21A-2642-4C42-BD88-1FC4A1D38DB0}" destId="{5C9B5DC6-BAAE-4EAA-9ECF-C1FFD74C6DCB}" srcOrd="0" destOrd="0" presId="urn:microsoft.com/office/officeart/2005/8/layout/vProcess5"/>
    <dgm:cxn modelId="{9456E328-11F5-4782-8640-6787AA66B278}" srcId="{8A53E21A-2642-4C42-BD88-1FC4A1D38DB0}" destId="{86C39FAE-B514-4274-BE11-4DCBB1C5EF97}" srcOrd="0" destOrd="0" parTransId="{DAA8B426-61B6-45FC-87E0-772CB068CD3F}" sibTransId="{E581CD80-B8C5-4C4E-8EA4-43A05482E603}"/>
    <dgm:cxn modelId="{5F784269-2D3A-483B-BAE9-F5F3E9FE9E7E}" srcId="{8A53E21A-2642-4C42-BD88-1FC4A1D38DB0}" destId="{C7755134-EA13-40D8-B8CD-50C1D00F1BFB}" srcOrd="1" destOrd="0" parTransId="{3A1131A3-D910-498F-A92E-CD5C140C8158}" sibTransId="{23B46DB1-9CD7-438B-BAD1-91B9449E4D24}"/>
    <dgm:cxn modelId="{F761D68A-08E2-4F9A-B799-F404EB570168}" type="presParOf" srcId="{5C9B5DC6-BAAE-4EAA-9ECF-C1FFD74C6DCB}" destId="{D93876DC-90FB-4747-8583-7584D397C747}" srcOrd="0" destOrd="0" presId="urn:microsoft.com/office/officeart/2005/8/layout/vProcess5"/>
    <dgm:cxn modelId="{AD503688-A115-404D-AC47-01F2D665BB4C}" type="presParOf" srcId="{5C9B5DC6-BAAE-4EAA-9ECF-C1FFD74C6DCB}" destId="{A6F493F9-7553-4876-9ADD-5D4A2262C501}" srcOrd="1" destOrd="0" presId="urn:microsoft.com/office/officeart/2005/8/layout/vProcess5"/>
    <dgm:cxn modelId="{F8E902C8-5D87-4B1A-8ABB-02A7B0B6E8C0}" type="presParOf" srcId="{5C9B5DC6-BAAE-4EAA-9ECF-C1FFD74C6DCB}" destId="{625EDD0D-6D8E-41A6-843A-1D1C1FEAF898}" srcOrd="2" destOrd="0" presId="urn:microsoft.com/office/officeart/2005/8/layout/vProcess5"/>
    <dgm:cxn modelId="{80F479A8-2155-4EEB-9D4D-9C48D0566B98}" type="presParOf" srcId="{5C9B5DC6-BAAE-4EAA-9ECF-C1FFD74C6DCB}" destId="{DE393166-051F-4D2A-A3F0-E84F9DB52F5B}" srcOrd="3" destOrd="0" presId="urn:microsoft.com/office/officeart/2005/8/layout/vProcess5"/>
    <dgm:cxn modelId="{3C94F444-03D4-44F3-9C4C-BB8E71CBF227}" type="presParOf" srcId="{5C9B5DC6-BAAE-4EAA-9ECF-C1FFD74C6DCB}" destId="{91734D1C-68FA-45CF-95CD-6752F6D237A8}" srcOrd="4" destOrd="0" presId="urn:microsoft.com/office/officeart/2005/8/layout/vProcess5"/>
    <dgm:cxn modelId="{B34DD2C3-6DA3-4688-B13A-478C7C2F4F0B}" type="presParOf" srcId="{5C9B5DC6-BAAE-4EAA-9ECF-C1FFD74C6DCB}" destId="{7E9E55D2-7761-400C-8749-414DF3301F03}" srcOrd="5" destOrd="0" presId="urn:microsoft.com/office/officeart/2005/8/layout/vProcess5"/>
    <dgm:cxn modelId="{0ABA7ABE-21DC-4A6F-8B94-23DDECAABB48}" type="presParOf" srcId="{5C9B5DC6-BAAE-4EAA-9ECF-C1FFD74C6DCB}" destId="{FAEF3069-00E4-4865-9546-909BD04B3ECC}" srcOrd="6" destOrd="0" presId="urn:microsoft.com/office/officeart/2005/8/layout/vProcess5"/>
    <dgm:cxn modelId="{089CE662-0225-422B-BBDE-750E77D9C0A6}" type="presParOf" srcId="{5C9B5DC6-BAAE-4EAA-9ECF-C1FFD74C6DCB}" destId="{216E15D4-6952-428D-BBC1-300B5BC75F88}" srcOrd="7" destOrd="0" presId="urn:microsoft.com/office/officeart/2005/8/layout/vProcess5"/>
    <dgm:cxn modelId="{63C7D547-AC82-4094-A5A5-112438BAC194}" type="presParOf" srcId="{5C9B5DC6-BAAE-4EAA-9ECF-C1FFD74C6DCB}" destId="{8517C6A1-5E6F-4D8B-962D-BA29A5F60CED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45D705-BF06-494E-8B55-02AEE1BA3A18}">
      <dsp:nvSpPr>
        <dsp:cNvPr id="0" name=""/>
        <dsp:cNvSpPr/>
      </dsp:nvSpPr>
      <dsp:spPr>
        <a:xfrm>
          <a:off x="0" y="375199"/>
          <a:ext cx="8403772" cy="427011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2226" tIns="1353820" rIns="652226" bIns="213360" numCol="1" spcCol="1270" anchor="t" anchorCtr="0">
          <a:noAutofit/>
        </a:bodyPr>
        <a:lstStyle/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000" b="1" kern="1200" dirty="0" smtClean="0"/>
            <a:t>Concessões Atuais</a:t>
          </a:r>
          <a:endParaRPr lang="pt-BR" sz="3000" b="1" kern="1200" dirty="0"/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000" b="1" kern="1200" dirty="0" smtClean="0"/>
            <a:t>Novas Concessões</a:t>
          </a:r>
          <a:endParaRPr lang="pt-BR" sz="3000" b="1" kern="1200" dirty="0"/>
        </a:p>
        <a:p>
          <a:pPr marL="571500" lvl="2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000" b="1" kern="1200" dirty="0" smtClean="0"/>
            <a:t>EVTEA</a:t>
          </a:r>
          <a:endParaRPr lang="pt-BR" sz="3000" b="1" kern="1200" dirty="0"/>
        </a:p>
        <a:p>
          <a:pPr marL="571500" lvl="2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000" b="1" kern="1200" dirty="0" smtClean="0"/>
            <a:t>Edital e Contrato</a:t>
          </a:r>
          <a:endParaRPr lang="pt-BR" sz="3000" b="1" kern="1200" dirty="0"/>
        </a:p>
      </dsp:txBody>
      <dsp:txXfrm>
        <a:off x="0" y="375199"/>
        <a:ext cx="8403772" cy="4270114"/>
      </dsp:txXfrm>
    </dsp:sp>
    <dsp:sp modelId="{74DC1A45-32B8-436E-B9F9-9A98EAD3C845}">
      <dsp:nvSpPr>
        <dsp:cNvPr id="0" name=""/>
        <dsp:cNvSpPr/>
      </dsp:nvSpPr>
      <dsp:spPr>
        <a:xfrm>
          <a:off x="420188" y="183108"/>
          <a:ext cx="5882640" cy="98520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350" tIns="0" rIns="222350" bIns="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000" b="1" kern="1200" dirty="0" smtClean="0"/>
            <a:t>Concessões Aeroportuárias</a:t>
          </a:r>
          <a:endParaRPr lang="pt-BR" sz="3000" b="1" kern="1200" dirty="0"/>
        </a:p>
      </dsp:txBody>
      <dsp:txXfrm>
        <a:off x="468282" y="231202"/>
        <a:ext cx="5786452" cy="88901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47F371-2B30-452C-9C0C-B28475BEDCA1}">
      <dsp:nvSpPr>
        <dsp:cNvPr id="0" name=""/>
        <dsp:cNvSpPr/>
      </dsp:nvSpPr>
      <dsp:spPr>
        <a:xfrm>
          <a:off x="0" y="179959"/>
          <a:ext cx="6954982" cy="762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9784" tIns="229108" rIns="539784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400" kern="1200" dirty="0" smtClean="0">
              <a:solidFill>
                <a:schemeClr val="accent1">
                  <a:lumMod val="75000"/>
                </a:schemeClr>
              </a:solidFill>
            </a:rPr>
            <a:t>Indicadores de qualidade de serviço: Fator Q</a:t>
          </a:r>
          <a:endParaRPr lang="pt-BR" sz="1400" u="none" kern="1200" dirty="0">
            <a:solidFill>
              <a:schemeClr val="bg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400" kern="1200" dirty="0" smtClean="0">
              <a:solidFill>
                <a:schemeClr val="accent1">
                  <a:lumMod val="75000"/>
                </a:schemeClr>
              </a:solidFill>
            </a:rPr>
            <a:t>Variação tarifária: - 7,5% a + 2% </a:t>
          </a:r>
        </a:p>
      </dsp:txBody>
      <dsp:txXfrm>
        <a:off x="0" y="179959"/>
        <a:ext cx="6954982" cy="762300"/>
      </dsp:txXfrm>
    </dsp:sp>
    <dsp:sp modelId="{AE429A70-4C11-4FEE-A160-092788E2722F}">
      <dsp:nvSpPr>
        <dsp:cNvPr id="0" name=""/>
        <dsp:cNvSpPr/>
      </dsp:nvSpPr>
      <dsp:spPr>
        <a:xfrm>
          <a:off x="347749" y="17599"/>
          <a:ext cx="4868487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17" tIns="0" rIns="184017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u="none" kern="1200" dirty="0" smtClean="0">
              <a:solidFill>
                <a:schemeClr val="bg1"/>
              </a:solidFill>
            </a:rPr>
            <a:t>Relatório de Qualidade de Serviço</a:t>
          </a:r>
          <a:endParaRPr lang="pt-BR" sz="1600" u="none" kern="1200" dirty="0">
            <a:solidFill>
              <a:schemeClr val="bg1"/>
            </a:solidFill>
          </a:endParaRPr>
        </a:p>
      </dsp:txBody>
      <dsp:txXfrm>
        <a:off x="363601" y="33451"/>
        <a:ext cx="4836783" cy="293016"/>
      </dsp:txXfrm>
    </dsp:sp>
    <dsp:sp modelId="{97A68E7A-009D-42F6-B3E8-8C433D99582E}">
      <dsp:nvSpPr>
        <dsp:cNvPr id="0" name=""/>
        <dsp:cNvSpPr/>
      </dsp:nvSpPr>
      <dsp:spPr>
        <a:xfrm>
          <a:off x="0" y="1164019"/>
          <a:ext cx="6954982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84FA2-E9A5-4072-85C1-0BDD5C1E0731}">
      <dsp:nvSpPr>
        <dsp:cNvPr id="0" name=""/>
        <dsp:cNvSpPr/>
      </dsp:nvSpPr>
      <dsp:spPr>
        <a:xfrm>
          <a:off x="347749" y="1001659"/>
          <a:ext cx="4868487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17" tIns="0" rIns="184017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>
              <a:solidFill>
                <a:schemeClr val="bg1"/>
              </a:solidFill>
            </a:rPr>
            <a:t>Capacitação de funcionários</a:t>
          </a:r>
        </a:p>
      </dsp:txBody>
      <dsp:txXfrm>
        <a:off x="363601" y="1017511"/>
        <a:ext cx="4836783" cy="293016"/>
      </dsp:txXfrm>
    </dsp:sp>
    <dsp:sp modelId="{31BAEEF7-C7DE-471C-B9E1-F91B3DFC44AD}">
      <dsp:nvSpPr>
        <dsp:cNvPr id="0" name=""/>
        <dsp:cNvSpPr/>
      </dsp:nvSpPr>
      <dsp:spPr>
        <a:xfrm>
          <a:off x="0" y="1662979"/>
          <a:ext cx="6954982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082E7D-3B9A-4E6F-B7C1-3B9272AF0D54}">
      <dsp:nvSpPr>
        <dsp:cNvPr id="0" name=""/>
        <dsp:cNvSpPr/>
      </dsp:nvSpPr>
      <dsp:spPr>
        <a:xfrm>
          <a:off x="347749" y="1500619"/>
          <a:ext cx="4868487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17" tIns="0" rIns="184017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>
              <a:solidFill>
                <a:schemeClr val="bg1"/>
              </a:solidFill>
            </a:rPr>
            <a:t>Serviço de Informação, </a:t>
          </a:r>
          <a:r>
            <a:rPr lang="pt-BR" sz="1600" kern="1200" dirty="0" err="1" smtClean="0">
              <a:solidFill>
                <a:schemeClr val="bg1"/>
              </a:solidFill>
            </a:rPr>
            <a:t>Website</a:t>
          </a:r>
          <a:r>
            <a:rPr lang="pt-BR" sz="1600" kern="1200" dirty="0" smtClean="0">
              <a:solidFill>
                <a:schemeClr val="bg1"/>
              </a:solidFill>
            </a:rPr>
            <a:t> e Sistemas de TI</a:t>
          </a:r>
        </a:p>
      </dsp:txBody>
      <dsp:txXfrm>
        <a:off x="363601" y="1516471"/>
        <a:ext cx="4836783" cy="29301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8E076F-B208-4C7C-88C0-84B738ADF497}">
      <dsp:nvSpPr>
        <dsp:cNvPr id="0" name=""/>
        <dsp:cNvSpPr/>
      </dsp:nvSpPr>
      <dsp:spPr>
        <a:xfrm rot="5400000">
          <a:off x="3876633" y="-2131837"/>
          <a:ext cx="2484345" cy="674804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Até </a:t>
          </a:r>
          <a:r>
            <a:rPr lang="pt-BR" sz="1600" b="1" kern="1200" dirty="0" err="1" smtClean="0">
              <a:solidFill>
                <a:schemeClr val="tx1"/>
              </a:solidFill>
              <a:latin typeface="+mn-lt"/>
              <a:ea typeface="MS PGothic" pitchFamily="34" charset="-128"/>
            </a:rPr>
            <a:t>abr</a:t>
          </a:r>
          <a:r>
            <a:rPr lang="pt-BR" sz="1600" b="1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/2016:</a:t>
          </a:r>
          <a:endParaRPr lang="pt-BR" sz="1600" b="1" kern="1200" dirty="0">
            <a:solidFill>
              <a:schemeClr val="tx1"/>
            </a:solidFill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Novas instalações para embarque /desembarque de passageiros c/ pelo menos 26 pontes embarque adicionais e respectivas posições de pátio aeronaves Código C</a:t>
          </a:r>
          <a:endParaRPr lang="pt-BR" sz="1600" b="0" kern="1200" dirty="0">
            <a:solidFill>
              <a:schemeClr val="tx1"/>
            </a:solidFill>
            <a:latin typeface="+mn-lt"/>
            <a:ea typeface="MS PGothic" pitchFamily="34" charset="-128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Pátio de Aeronaves para 21 aeronaves Código C adicionais</a:t>
          </a:r>
          <a:endParaRPr lang="pt-BR" sz="1600" b="0" kern="1200" dirty="0">
            <a:solidFill>
              <a:schemeClr val="tx1"/>
            </a:solidFill>
            <a:latin typeface="+mn-lt"/>
            <a:ea typeface="MS PGothic" pitchFamily="34" charset="-128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Estacionamento de veículos até 2015 (mínimo 1.850 vagas)</a:t>
          </a:r>
          <a:endParaRPr lang="pt-BR" sz="1600" b="0" kern="1200" dirty="0">
            <a:solidFill>
              <a:schemeClr val="tx1"/>
            </a:solidFill>
            <a:latin typeface="+mn-lt"/>
            <a:ea typeface="MS PGothic" pitchFamily="34" charset="-128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A partir de 215.100 movimentos/ano:</a:t>
          </a:r>
          <a:endParaRPr lang="pt-BR" sz="1600" b="1" kern="1200" dirty="0">
            <a:solidFill>
              <a:schemeClr val="tx1"/>
            </a:solidFill>
            <a:latin typeface="+mn-lt"/>
            <a:ea typeface="MS PGothic" pitchFamily="34" charset="-128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  <a:latin typeface="+mn-lt"/>
              <a:ea typeface="MS PGothic" pitchFamily="34" charset="-128"/>
            </a:rPr>
            <a:t>Construção do Sistema de pistas independentes (a ser terminada antes de atingir 262.900 movimentos/ano  ou até dez/2021)</a:t>
          </a:r>
          <a:endParaRPr lang="pt-BR" sz="1600" b="0" kern="1200" dirty="0">
            <a:solidFill>
              <a:schemeClr val="tx1"/>
            </a:solidFill>
            <a:latin typeface="+mn-lt"/>
            <a:ea typeface="MS PGothic" pitchFamily="34" charset="-128"/>
          </a:endParaRPr>
        </a:p>
      </dsp:txBody>
      <dsp:txXfrm rot="-5400000">
        <a:off x="1744785" y="121287"/>
        <a:ext cx="6626765" cy="2241793"/>
      </dsp:txXfrm>
    </dsp:sp>
    <dsp:sp modelId="{F7D7F911-0C3E-452C-B25F-32ABE42A94C8}">
      <dsp:nvSpPr>
        <dsp:cNvPr id="0" name=""/>
        <dsp:cNvSpPr/>
      </dsp:nvSpPr>
      <dsp:spPr>
        <a:xfrm>
          <a:off x="80162" y="1310"/>
          <a:ext cx="1664622" cy="24817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solidFill>
                <a:schemeClr val="bg1"/>
              </a:solidFill>
            </a:rPr>
            <a:t>Galeão</a:t>
          </a:r>
          <a:endParaRPr lang="pt-BR" sz="2000" kern="1200" dirty="0">
            <a:solidFill>
              <a:schemeClr val="bg1"/>
            </a:solidFill>
          </a:endParaRPr>
        </a:p>
      </dsp:txBody>
      <dsp:txXfrm>
        <a:off x="161422" y="82570"/>
        <a:ext cx="1502102" cy="2319224"/>
      </dsp:txXfrm>
    </dsp:sp>
    <dsp:sp modelId="{4C2C0C20-AA68-4F99-BDC5-CD1CEFA828D4}">
      <dsp:nvSpPr>
        <dsp:cNvPr id="0" name=""/>
        <dsp:cNvSpPr/>
      </dsp:nvSpPr>
      <dsp:spPr>
        <a:xfrm rot="5400000">
          <a:off x="3876633" y="476595"/>
          <a:ext cx="2484345" cy="674804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</a:rPr>
            <a:t>Até </a:t>
          </a:r>
          <a:r>
            <a:rPr lang="pt-BR" sz="1600" b="1" kern="1200" dirty="0" err="1" smtClean="0">
              <a:solidFill>
                <a:schemeClr val="tx1"/>
              </a:solidFill>
            </a:rPr>
            <a:t>abr</a:t>
          </a:r>
          <a:r>
            <a:rPr lang="pt-BR" sz="1600" b="1" kern="1200" dirty="0" smtClean="0">
              <a:solidFill>
                <a:schemeClr val="tx1"/>
              </a:solidFill>
            </a:rPr>
            <a:t>/2016</a:t>
          </a:r>
          <a:endParaRPr lang="pt-BR" sz="1600" b="1" kern="1200" dirty="0">
            <a:solidFill>
              <a:schemeClr val="tx1"/>
            </a:solidFill>
          </a:endParaRPr>
        </a:p>
        <a:p>
          <a:pPr marL="342900" lvl="2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</a:rPr>
            <a:t>Novo TPS para mais 1.650 passageiros domésticos em embarque e 1.700 em desembarque (em hora pico), com 14 pontes de embarque  e posições de pátio para atender 11 aeronaves Código C e 3 aeronaves Código E.</a:t>
          </a:r>
          <a:endParaRPr lang="pt-BR" sz="1600" b="0" kern="1200" dirty="0">
            <a:solidFill>
              <a:schemeClr val="tx1"/>
            </a:solidFill>
          </a:endParaRPr>
        </a:p>
        <a:p>
          <a:pPr marL="342900" lvl="2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</a:rPr>
            <a:t>Pátio de Aeronaves para atender 7 aeronaves Código C adicionais.</a:t>
          </a:r>
          <a:endParaRPr lang="pt-BR" sz="1600" b="0" kern="1200" dirty="0">
            <a:solidFill>
              <a:schemeClr val="tx1"/>
            </a:solidFill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</a:rPr>
            <a:t>A partir de 144.000 movimentos/ano:</a:t>
          </a:r>
          <a:endParaRPr lang="pt-BR" sz="1600" b="1" kern="1200" dirty="0">
            <a:solidFill>
              <a:schemeClr val="tx1"/>
            </a:solidFill>
          </a:endParaRPr>
        </a:p>
        <a:p>
          <a:pPr marL="342900" lvl="2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>
              <a:solidFill>
                <a:schemeClr val="tx1"/>
              </a:solidFill>
            </a:rPr>
            <a:t>Construção da 2ª pista independente (a ser terminada antes de atingir 198.000 movimentos/ano  ou até dez/2020)</a:t>
          </a:r>
          <a:endParaRPr lang="pt-BR" sz="1600" b="0" kern="1200" dirty="0">
            <a:solidFill>
              <a:schemeClr val="tx1"/>
            </a:solidFill>
          </a:endParaRPr>
        </a:p>
      </dsp:txBody>
      <dsp:txXfrm rot="-5400000">
        <a:off x="1744785" y="2729719"/>
        <a:ext cx="6626765" cy="2241793"/>
      </dsp:txXfrm>
    </dsp:sp>
    <dsp:sp modelId="{566249E9-1CA7-4879-ADAE-0A7836FC90D4}">
      <dsp:nvSpPr>
        <dsp:cNvPr id="0" name=""/>
        <dsp:cNvSpPr/>
      </dsp:nvSpPr>
      <dsp:spPr>
        <a:xfrm>
          <a:off x="80162" y="2609743"/>
          <a:ext cx="1664622" cy="24817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solidFill>
                <a:schemeClr val="bg1"/>
              </a:solidFill>
              <a:latin typeface="+mn-lt"/>
              <a:ea typeface="MS PGothic" pitchFamily="34" charset="-128"/>
            </a:rPr>
            <a:t>Confins</a:t>
          </a:r>
          <a:endParaRPr lang="pt-BR" sz="2000" b="1" kern="1200" dirty="0">
            <a:solidFill>
              <a:schemeClr val="bg1"/>
            </a:solidFill>
            <a:latin typeface="+mn-lt"/>
            <a:ea typeface="MS PGothic" pitchFamily="34" charset="-128"/>
          </a:endParaRPr>
        </a:p>
      </dsp:txBody>
      <dsp:txXfrm>
        <a:off x="161422" y="2691003"/>
        <a:ext cx="1502102" cy="23192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AA52DD-FA5A-43AC-A051-6996F7A5C9CC}">
      <dsp:nvSpPr>
        <dsp:cNvPr id="0" name=""/>
        <dsp:cNvSpPr/>
      </dsp:nvSpPr>
      <dsp:spPr>
        <a:xfrm>
          <a:off x="0" y="216025"/>
          <a:ext cx="8458200" cy="2473472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CFCCAB-1722-40AD-BDA0-7772C621B1CB}">
      <dsp:nvSpPr>
        <dsp:cNvPr id="0" name=""/>
        <dsp:cNvSpPr/>
      </dsp:nvSpPr>
      <dsp:spPr>
        <a:xfrm>
          <a:off x="254716" y="489936"/>
          <a:ext cx="3785127" cy="189740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FE03E5E-F993-46CD-B961-C090E5817947}">
      <dsp:nvSpPr>
        <dsp:cNvPr id="0" name=""/>
        <dsp:cNvSpPr/>
      </dsp:nvSpPr>
      <dsp:spPr>
        <a:xfrm rot="10800000">
          <a:off x="254716" y="2831772"/>
          <a:ext cx="3785127" cy="1318193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Aeroporto Internacional do Galeão - RJ </a:t>
          </a:r>
        </a:p>
      </dsp:txBody>
      <dsp:txXfrm rot="10800000">
        <a:off x="295255" y="2831772"/>
        <a:ext cx="3704049" cy="1277654"/>
      </dsp:txXfrm>
    </dsp:sp>
    <dsp:sp modelId="{49CEB05B-7D63-4558-81DE-362BF55D55AA}">
      <dsp:nvSpPr>
        <dsp:cNvPr id="0" name=""/>
        <dsp:cNvSpPr/>
      </dsp:nvSpPr>
      <dsp:spPr>
        <a:xfrm>
          <a:off x="4418356" y="489936"/>
          <a:ext cx="3785127" cy="189740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B3EEF43-5A16-40FE-9624-4EA3992F3AC4}">
      <dsp:nvSpPr>
        <dsp:cNvPr id="0" name=""/>
        <dsp:cNvSpPr/>
      </dsp:nvSpPr>
      <dsp:spPr>
        <a:xfrm rot="10800000">
          <a:off x="4418356" y="2831772"/>
          <a:ext cx="3785127" cy="1318193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Aeroporto Internacional de Confins - MG</a:t>
          </a:r>
        </a:p>
      </dsp:txBody>
      <dsp:txXfrm rot="10800000">
        <a:off x="4458895" y="2831772"/>
        <a:ext cx="3704049" cy="12776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404A9F-9B14-44DE-9C54-CD1525285498}">
      <dsp:nvSpPr>
        <dsp:cNvPr id="0" name=""/>
        <dsp:cNvSpPr/>
      </dsp:nvSpPr>
      <dsp:spPr>
        <a:xfrm>
          <a:off x="0" y="0"/>
          <a:ext cx="8352928" cy="917280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200" b="1" kern="1200" dirty="0" smtClean="0"/>
            <a:t>Concessão para ampliação, manutenção e exploração dos Aeroportos</a:t>
          </a:r>
          <a:endParaRPr lang="pt-BR" sz="2200" b="1" kern="1200" dirty="0"/>
        </a:p>
      </dsp:txBody>
      <dsp:txXfrm>
        <a:off x="44778" y="44778"/>
        <a:ext cx="8263372" cy="8277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98DBB5-D549-4DF2-B3D9-EAFB2801AC93}">
      <dsp:nvSpPr>
        <dsp:cNvPr id="0" name=""/>
        <dsp:cNvSpPr/>
      </dsp:nvSpPr>
      <dsp:spPr>
        <a:xfrm>
          <a:off x="1814" y="0"/>
          <a:ext cx="2822657" cy="4333377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kern="1200" dirty="0" smtClean="0"/>
            <a:t>EVTEA</a:t>
          </a:r>
          <a:endParaRPr lang="pt-BR" sz="3600" kern="1200" dirty="0"/>
        </a:p>
      </dsp:txBody>
      <dsp:txXfrm>
        <a:off x="1814" y="1733350"/>
        <a:ext cx="2822657" cy="1733350"/>
      </dsp:txXfrm>
    </dsp:sp>
    <dsp:sp modelId="{AD94151A-CD3A-42EB-A059-1A07C808C622}">
      <dsp:nvSpPr>
        <dsp:cNvPr id="0" name=""/>
        <dsp:cNvSpPr/>
      </dsp:nvSpPr>
      <dsp:spPr>
        <a:xfrm>
          <a:off x="691635" y="260002"/>
          <a:ext cx="1443014" cy="1443014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D29965-9D86-4421-B946-CF9B597BDE55}">
      <dsp:nvSpPr>
        <dsp:cNvPr id="0" name=""/>
        <dsp:cNvSpPr/>
      </dsp:nvSpPr>
      <dsp:spPr>
        <a:xfrm>
          <a:off x="2909151" y="0"/>
          <a:ext cx="2822657" cy="4333377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153123"/>
            <a:satOff val="-2196"/>
            <a:lumOff val="1280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kern="1200" dirty="0" smtClean="0"/>
            <a:t>Licitação</a:t>
          </a: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kern="1200" dirty="0" smtClean="0"/>
            <a:t>EDITAL</a:t>
          </a:r>
          <a:endParaRPr lang="pt-BR" sz="3600" kern="1200" dirty="0"/>
        </a:p>
      </dsp:txBody>
      <dsp:txXfrm>
        <a:off x="2909151" y="1733350"/>
        <a:ext cx="2822657" cy="1733350"/>
      </dsp:txXfrm>
    </dsp:sp>
    <dsp:sp modelId="{F171D906-9F3F-4222-898A-481D2362EC50}">
      <dsp:nvSpPr>
        <dsp:cNvPr id="0" name=""/>
        <dsp:cNvSpPr/>
      </dsp:nvSpPr>
      <dsp:spPr>
        <a:xfrm>
          <a:off x="3598972" y="260002"/>
          <a:ext cx="1443014" cy="1443014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D5264F-C5C0-4B68-8DB1-0E30735AFA50}">
      <dsp:nvSpPr>
        <dsp:cNvPr id="0" name=""/>
        <dsp:cNvSpPr/>
      </dsp:nvSpPr>
      <dsp:spPr>
        <a:xfrm>
          <a:off x="5816488" y="0"/>
          <a:ext cx="2822657" cy="4333377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kern="1200" dirty="0" smtClean="0"/>
            <a:t>CONTRATO</a:t>
          </a:r>
          <a:endParaRPr lang="pt-BR" sz="3600" kern="1200" dirty="0"/>
        </a:p>
      </dsp:txBody>
      <dsp:txXfrm>
        <a:off x="5816488" y="1733350"/>
        <a:ext cx="2822657" cy="1733350"/>
      </dsp:txXfrm>
    </dsp:sp>
    <dsp:sp modelId="{9A3DC0E7-8EB4-45FC-B112-70DF2A030F86}">
      <dsp:nvSpPr>
        <dsp:cNvPr id="0" name=""/>
        <dsp:cNvSpPr/>
      </dsp:nvSpPr>
      <dsp:spPr>
        <a:xfrm>
          <a:off x="6506309" y="260002"/>
          <a:ext cx="1443014" cy="1443014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DDFBBA-81EC-40FF-A100-4793A5CE2715}">
      <dsp:nvSpPr>
        <dsp:cNvPr id="0" name=""/>
        <dsp:cNvSpPr/>
      </dsp:nvSpPr>
      <dsp:spPr>
        <a:xfrm>
          <a:off x="345638" y="3466701"/>
          <a:ext cx="7949683" cy="650006"/>
        </a:xfrm>
        <a:prstGeom prst="left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5099578" y="-2768737"/>
          <a:ext cx="660153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latin typeface="+mj-lt"/>
            </a:rPr>
            <a:t>As tarifas iniciais são iguais às aplicadas nas concessões de GRU, VCP e BSB, inclusive as tarifas de conexão</a:t>
          </a:r>
          <a:endParaRPr lang="pt-BR" sz="1600" kern="1200" dirty="0"/>
        </a:p>
      </dsp:txBody>
      <dsp:txXfrm rot="-5400000">
        <a:off x="2244888" y="118179"/>
        <a:ext cx="6337308" cy="595701"/>
      </dsp:txXfrm>
    </dsp:sp>
    <dsp:sp modelId="{1C479F0B-C610-4C88-A4DB-38C5FDE7CD99}">
      <dsp:nvSpPr>
        <dsp:cNvPr id="0" name=""/>
        <dsp:cNvSpPr/>
      </dsp:nvSpPr>
      <dsp:spPr>
        <a:xfrm>
          <a:off x="1097" y="3434"/>
          <a:ext cx="2243790" cy="825191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Estrutura tarifária</a:t>
          </a:r>
          <a:endParaRPr lang="pt-BR" sz="2000" b="1" kern="1200" dirty="0">
            <a:latin typeface="+mn-lt"/>
          </a:endParaRPr>
        </a:p>
      </dsp:txBody>
      <dsp:txXfrm>
        <a:off x="41380" y="43717"/>
        <a:ext cx="2163224" cy="744625"/>
      </dsp:txXfrm>
    </dsp:sp>
    <dsp:sp modelId="{D5191B6E-E5B5-4692-9CAA-C1676BC44AE3}">
      <dsp:nvSpPr>
        <dsp:cNvPr id="0" name=""/>
        <dsp:cNvSpPr/>
      </dsp:nvSpPr>
      <dsp:spPr>
        <a:xfrm rot="5400000">
          <a:off x="5099578" y="-1902286"/>
          <a:ext cx="660153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Galeão e Confins:</a:t>
          </a:r>
          <a:endParaRPr lang="pt-BR" sz="1600" kern="1200" dirty="0">
            <a:solidFill>
              <a:schemeClr val="tx1"/>
            </a:solidFill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5% da Receita Bruta</a:t>
          </a:r>
          <a:endParaRPr lang="pt-BR" sz="1600" b="1" kern="1200" dirty="0">
            <a:solidFill>
              <a:schemeClr val="tx1"/>
            </a:solidFill>
            <a:latin typeface="+mj-lt"/>
          </a:endParaRPr>
        </a:p>
      </dsp:txBody>
      <dsp:txXfrm rot="-5400000">
        <a:off x="2244888" y="984630"/>
        <a:ext cx="6337308" cy="595701"/>
      </dsp:txXfrm>
    </dsp:sp>
    <dsp:sp modelId="{49BB22DF-4B0D-424C-9D41-F3FCF1377F7F}">
      <dsp:nvSpPr>
        <dsp:cNvPr id="0" name=""/>
        <dsp:cNvSpPr/>
      </dsp:nvSpPr>
      <dsp:spPr>
        <a:xfrm>
          <a:off x="1097" y="869885"/>
          <a:ext cx="2243790" cy="825191"/>
        </a:xfrm>
        <a:prstGeom prst="roundRect">
          <a:avLst/>
        </a:prstGeom>
        <a:solidFill>
          <a:schemeClr val="accent1">
            <a:shade val="80000"/>
            <a:hueOff val="61249"/>
            <a:satOff val="-878"/>
            <a:lumOff val="512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Contribuição variável</a:t>
          </a:r>
          <a:endParaRPr lang="pt-BR" sz="2000" b="1" kern="1200" dirty="0">
            <a:latin typeface="+mn-lt"/>
          </a:endParaRPr>
        </a:p>
      </dsp:txBody>
      <dsp:txXfrm>
        <a:off x="41380" y="910168"/>
        <a:ext cx="2163224" cy="744625"/>
      </dsp:txXfrm>
    </dsp:sp>
    <dsp:sp modelId="{8FDC02F2-834B-46BF-B53F-8C297AC8CC3F}">
      <dsp:nvSpPr>
        <dsp:cNvPr id="0" name=""/>
        <dsp:cNvSpPr/>
      </dsp:nvSpPr>
      <dsp:spPr>
        <a:xfrm rot="5400000">
          <a:off x="5099578" y="-1035835"/>
          <a:ext cx="660153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Confins: 30 ano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  <a:ea typeface="MS PGothic" pitchFamily="34" charset="-128"/>
            </a:rPr>
            <a:t>Galeão: 25 anos</a:t>
          </a:r>
          <a:endParaRPr lang="pt-BR" sz="1600" b="1" kern="1200" dirty="0">
            <a:solidFill>
              <a:schemeClr val="tx1"/>
            </a:solidFill>
            <a:latin typeface="+mj-lt"/>
            <a:ea typeface="MS PGothic" pitchFamily="34" charset="-128"/>
          </a:endParaRPr>
        </a:p>
      </dsp:txBody>
      <dsp:txXfrm rot="-5400000">
        <a:off x="2244888" y="1851081"/>
        <a:ext cx="6337308" cy="595701"/>
      </dsp:txXfrm>
    </dsp:sp>
    <dsp:sp modelId="{5AAF0A73-D482-41C5-9D6F-C670456F5539}">
      <dsp:nvSpPr>
        <dsp:cNvPr id="0" name=""/>
        <dsp:cNvSpPr/>
      </dsp:nvSpPr>
      <dsp:spPr>
        <a:xfrm>
          <a:off x="1097" y="1736336"/>
          <a:ext cx="2243790" cy="825191"/>
        </a:xfrm>
        <a:prstGeom prst="roundRect">
          <a:avLst/>
        </a:prstGeom>
        <a:solidFill>
          <a:schemeClr val="accent1">
            <a:shade val="80000"/>
            <a:hueOff val="122498"/>
            <a:satOff val="-1757"/>
            <a:lumOff val="1024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Prazo de Concessão</a:t>
          </a:r>
          <a:endParaRPr lang="pt-BR" sz="2000" b="1" kern="1200" dirty="0">
            <a:latin typeface="+mn-lt"/>
          </a:endParaRPr>
        </a:p>
      </dsp:txBody>
      <dsp:txXfrm>
        <a:off x="41380" y="1776619"/>
        <a:ext cx="2163224" cy="744625"/>
      </dsp:txXfrm>
    </dsp:sp>
    <dsp:sp modelId="{1443BE36-7326-4C51-9C8C-619F18E5D008}">
      <dsp:nvSpPr>
        <dsp:cNvPr id="0" name=""/>
        <dsp:cNvSpPr/>
      </dsp:nvSpPr>
      <dsp:spPr>
        <a:xfrm rot="5400000">
          <a:off x="4973878" y="-126203"/>
          <a:ext cx="911552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Plano diretor das instalaçõe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smtClean="0">
              <a:solidFill>
                <a:schemeClr val="tx1"/>
              </a:solidFill>
              <a:latin typeface="+mj-lt"/>
            </a:rPr>
            <a:t>Confins: 2 pistas obrigatórias (independentes)</a:t>
          </a:r>
          <a:endParaRPr lang="pt-BR" sz="1600" b="1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Galeão: sistema de pistas paralelas independentes</a:t>
          </a:r>
          <a:endParaRPr lang="pt-BR" sz="1600" b="1" kern="1200" dirty="0">
            <a:solidFill>
              <a:schemeClr val="tx1"/>
            </a:solidFill>
            <a:latin typeface="+mj-lt"/>
          </a:endParaRPr>
        </a:p>
      </dsp:txBody>
      <dsp:txXfrm rot="-5400000">
        <a:off x="2244887" y="2647286"/>
        <a:ext cx="6325036" cy="822556"/>
      </dsp:txXfrm>
    </dsp:sp>
    <dsp:sp modelId="{B41CAE19-CC92-42F3-BE40-BED6952CDC3D}">
      <dsp:nvSpPr>
        <dsp:cNvPr id="0" name=""/>
        <dsp:cNvSpPr/>
      </dsp:nvSpPr>
      <dsp:spPr>
        <a:xfrm>
          <a:off x="1097" y="2645967"/>
          <a:ext cx="2243790" cy="825191"/>
        </a:xfrm>
        <a:prstGeom prst="roundRect">
          <a:avLst/>
        </a:prstGeom>
        <a:solidFill>
          <a:schemeClr val="accent1">
            <a:shade val="80000"/>
            <a:hueOff val="183747"/>
            <a:satOff val="-2635"/>
            <a:lumOff val="15369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Premissas de capacidade</a:t>
          </a:r>
          <a:endParaRPr lang="pt-BR" sz="2000" b="1" kern="1200" dirty="0">
            <a:latin typeface="+mn-lt"/>
          </a:endParaRPr>
        </a:p>
      </dsp:txBody>
      <dsp:txXfrm>
        <a:off x="41380" y="2686250"/>
        <a:ext cx="2163224" cy="744625"/>
      </dsp:txXfrm>
    </dsp:sp>
    <dsp:sp modelId="{89F1171C-B353-4089-AB91-DA12105BE452}">
      <dsp:nvSpPr>
        <dsp:cNvPr id="0" name=""/>
        <dsp:cNvSpPr/>
      </dsp:nvSpPr>
      <dsp:spPr>
        <a:xfrm rot="5400000">
          <a:off x="5099578" y="783427"/>
          <a:ext cx="660153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Utilizando premissas do Governo Federal</a:t>
          </a:r>
          <a:endParaRPr lang="pt-BR" sz="1600" b="1" kern="1200" baseline="300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Taxa de (de)crescimento da elasticidade da demanda</a:t>
          </a:r>
        </a:p>
      </dsp:txBody>
      <dsp:txXfrm rot="-5400000">
        <a:off x="2244888" y="3670343"/>
        <a:ext cx="6337308" cy="595701"/>
      </dsp:txXfrm>
    </dsp:sp>
    <dsp:sp modelId="{3FF201B6-E4DF-4D0E-8402-DCF4D63EF7E6}">
      <dsp:nvSpPr>
        <dsp:cNvPr id="0" name=""/>
        <dsp:cNvSpPr/>
      </dsp:nvSpPr>
      <dsp:spPr>
        <a:xfrm>
          <a:off x="1097" y="3555599"/>
          <a:ext cx="2243790" cy="825191"/>
        </a:xfrm>
        <a:prstGeom prst="roundRect">
          <a:avLst/>
        </a:prstGeom>
        <a:solidFill>
          <a:schemeClr val="accent1">
            <a:shade val="80000"/>
            <a:hueOff val="244997"/>
            <a:satOff val="-3514"/>
            <a:lumOff val="2049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Projeção de demanda</a:t>
          </a:r>
          <a:endParaRPr lang="pt-BR" sz="2000" b="1" kern="1200" dirty="0">
            <a:latin typeface="+mn-lt"/>
          </a:endParaRPr>
        </a:p>
      </dsp:txBody>
      <dsp:txXfrm>
        <a:off x="41380" y="3595882"/>
        <a:ext cx="2163224" cy="744625"/>
      </dsp:txXfrm>
    </dsp:sp>
    <dsp:sp modelId="{67C3EC2E-9661-4543-A718-2985C477B884}">
      <dsp:nvSpPr>
        <dsp:cNvPr id="0" name=""/>
        <dsp:cNvSpPr/>
      </dsp:nvSpPr>
      <dsp:spPr>
        <a:xfrm rot="5400000">
          <a:off x="5014105" y="1652832"/>
          <a:ext cx="831099" cy="636953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WACC = 6,46% (real, pós impostos) - mesmo valor utilizado nas concessões de GRU e BSB</a:t>
          </a:r>
          <a:endParaRPr lang="pt-BR" sz="1600" b="1" kern="1200" baseline="300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1" kern="1200" dirty="0" smtClean="0">
              <a:solidFill>
                <a:schemeClr val="tx1"/>
              </a:solidFill>
              <a:latin typeface="+mj-lt"/>
            </a:rPr>
            <a:t>Modelo em valores reais – sem inflação</a:t>
          </a:r>
          <a:endParaRPr lang="pt-BR" sz="1600" b="1" kern="1200" dirty="0">
            <a:solidFill>
              <a:schemeClr val="tx1"/>
            </a:solidFill>
            <a:latin typeface="+mj-lt"/>
          </a:endParaRPr>
        </a:p>
      </dsp:txBody>
      <dsp:txXfrm rot="-5400000">
        <a:off x="2244888" y="4462621"/>
        <a:ext cx="6328963" cy="749957"/>
      </dsp:txXfrm>
    </dsp:sp>
    <dsp:sp modelId="{75FAD78B-7FAD-4728-AB26-10D779E706D8}">
      <dsp:nvSpPr>
        <dsp:cNvPr id="0" name=""/>
        <dsp:cNvSpPr/>
      </dsp:nvSpPr>
      <dsp:spPr>
        <a:xfrm>
          <a:off x="1097" y="4425004"/>
          <a:ext cx="2243790" cy="825191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+mn-lt"/>
            </a:rPr>
            <a:t>Premissas macro econômicas</a:t>
          </a:r>
          <a:endParaRPr lang="pt-BR" sz="2000" b="1" kern="1200" dirty="0">
            <a:latin typeface="+mn-lt"/>
          </a:endParaRPr>
        </a:p>
      </dsp:txBody>
      <dsp:txXfrm>
        <a:off x="41380" y="4465287"/>
        <a:ext cx="2163224" cy="74462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B9953A-08E4-BA46-993E-47E1025264ED}">
      <dsp:nvSpPr>
        <dsp:cNvPr id="0" name=""/>
        <dsp:cNvSpPr/>
      </dsp:nvSpPr>
      <dsp:spPr>
        <a:xfrm>
          <a:off x="0" y="102869"/>
          <a:ext cx="8229600" cy="1090273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just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200" kern="1200" dirty="0" smtClean="0"/>
            <a:t>Operador Aeroportuário deve comprovar experiência em processamento de 35 milhões de passageiros/ano, em um único aeroporto, em pelo menos 1 ano nos últimos 5 anos</a:t>
          </a:r>
          <a:endParaRPr lang="pt-BR" sz="2200" kern="1200" dirty="0"/>
        </a:p>
      </dsp:txBody>
      <dsp:txXfrm>
        <a:off x="53223" y="156092"/>
        <a:ext cx="8123154" cy="983827"/>
      </dsp:txXfrm>
    </dsp:sp>
    <dsp:sp modelId="{A6ED7EB2-B325-4A6C-B939-FFB78D110F31}">
      <dsp:nvSpPr>
        <dsp:cNvPr id="0" name=""/>
        <dsp:cNvSpPr/>
      </dsp:nvSpPr>
      <dsp:spPr>
        <a:xfrm>
          <a:off x="0" y="1213916"/>
          <a:ext cx="8229600" cy="928169"/>
        </a:xfrm>
        <a:prstGeom prst="roundRect">
          <a:avLst/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/>
            <a:t>Operador deve ter pelo menos 25% do consórcio</a:t>
          </a:r>
          <a:endParaRPr lang="pt-BR" sz="2300" kern="1200" dirty="0"/>
        </a:p>
      </dsp:txBody>
      <dsp:txXfrm>
        <a:off x="45309" y="1259225"/>
        <a:ext cx="8138982" cy="837551"/>
      </dsp:txXfrm>
    </dsp:sp>
    <dsp:sp modelId="{E6E7EBF9-2382-3246-B793-08458108FB92}">
      <dsp:nvSpPr>
        <dsp:cNvPr id="0" name=""/>
        <dsp:cNvSpPr/>
      </dsp:nvSpPr>
      <dsp:spPr>
        <a:xfrm>
          <a:off x="0" y="2153012"/>
          <a:ext cx="8229600" cy="928169"/>
        </a:xfrm>
        <a:prstGeom prst="roundRect">
          <a:avLst/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/>
            <a:t>Participação da Infraero mantida em 49%</a:t>
          </a:r>
          <a:endParaRPr lang="fr-FR" sz="2300" kern="1200" dirty="0"/>
        </a:p>
      </dsp:txBody>
      <dsp:txXfrm>
        <a:off x="45309" y="2198321"/>
        <a:ext cx="8138982" cy="837551"/>
      </dsp:txXfrm>
    </dsp:sp>
    <dsp:sp modelId="{54B47DB7-CA4D-4A21-A523-79FCE386B0B4}">
      <dsp:nvSpPr>
        <dsp:cNvPr id="0" name=""/>
        <dsp:cNvSpPr/>
      </dsp:nvSpPr>
      <dsp:spPr>
        <a:xfrm>
          <a:off x="0" y="3092108"/>
          <a:ext cx="8229600" cy="981000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just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/>
            <a:t>Cada consórcio só pode vencer um único aeroporto. Vedada participação dos vencedores das concessões de Guarulhos (SP), Viracopos (SP) e Brasília (DF)</a:t>
          </a:r>
          <a:endParaRPr lang="pt-BR" sz="2300" kern="1200" dirty="0"/>
        </a:p>
      </dsp:txBody>
      <dsp:txXfrm>
        <a:off x="47888" y="3139996"/>
        <a:ext cx="8133824" cy="88522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44A07F-490D-4848-9617-2C40E13EA431}">
      <dsp:nvSpPr>
        <dsp:cNvPr id="0" name=""/>
        <dsp:cNvSpPr/>
      </dsp:nvSpPr>
      <dsp:spPr>
        <a:xfrm>
          <a:off x="0" y="7058"/>
          <a:ext cx="3767137" cy="755820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/>
            <a:t>Transferência da operação e adequação da infraestrutura</a:t>
          </a:r>
          <a:endParaRPr lang="pt-BR" sz="1900" kern="1200" dirty="0"/>
        </a:p>
      </dsp:txBody>
      <dsp:txXfrm>
        <a:off x="36896" y="43954"/>
        <a:ext cx="3693345" cy="68202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878CFA-BD1C-4E17-B75B-032A12B7EFD4}">
      <dsp:nvSpPr>
        <dsp:cNvPr id="0" name=""/>
        <dsp:cNvSpPr/>
      </dsp:nvSpPr>
      <dsp:spPr>
        <a:xfrm>
          <a:off x="0" y="8275"/>
          <a:ext cx="8076953" cy="842400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/>
            <a:t>Fase I-B: </a:t>
          </a:r>
          <a:r>
            <a:rPr lang="pt-BR" sz="2000" kern="1200" dirty="0" smtClean="0"/>
            <a:t>Investimentos iniciais pátio e terminal de passageiros. Adequação da infraestrutura ao nível de serviço – 30 de abril de 2016 – Olimpíadas</a:t>
          </a:r>
          <a:endParaRPr lang="pt-BR" sz="2000" kern="1200" dirty="0"/>
        </a:p>
      </dsp:txBody>
      <dsp:txXfrm>
        <a:off x="41123" y="49398"/>
        <a:ext cx="7994707" cy="76015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F493F9-7553-4876-9ADD-5D4A2262C501}">
      <dsp:nvSpPr>
        <dsp:cNvPr id="0" name=""/>
        <dsp:cNvSpPr/>
      </dsp:nvSpPr>
      <dsp:spPr>
        <a:xfrm>
          <a:off x="-39304" y="-22724"/>
          <a:ext cx="5776228" cy="634448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Investimentos Obrigatórios e Melhorias dos Serviços</a:t>
          </a:r>
          <a:endParaRPr lang="pt-BR" sz="16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-20722" y="-4142"/>
        <a:ext cx="5168850" cy="597284"/>
      </dsp:txXfrm>
    </dsp:sp>
    <dsp:sp modelId="{625EDD0D-6D8E-41A6-843A-1D1C1FEAF898}">
      <dsp:nvSpPr>
        <dsp:cNvPr id="0" name=""/>
        <dsp:cNvSpPr/>
      </dsp:nvSpPr>
      <dsp:spPr>
        <a:xfrm>
          <a:off x="535099" y="656867"/>
          <a:ext cx="5619008" cy="543550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Recomposição do nível de serviço: parâmetros mínimos de dimensionamento</a:t>
          </a:r>
          <a:endParaRPr lang="pt-BR" sz="16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551019" y="672787"/>
        <a:ext cx="4738065" cy="511710"/>
      </dsp:txXfrm>
    </dsp:sp>
    <dsp:sp modelId="{DE393166-051F-4D2A-A3F0-E84F9DB52F5B}">
      <dsp:nvSpPr>
        <dsp:cNvPr id="0" name=""/>
        <dsp:cNvSpPr/>
      </dsp:nvSpPr>
      <dsp:spPr>
        <a:xfrm>
          <a:off x="1030894" y="1291009"/>
          <a:ext cx="5619008" cy="543550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</a:rPr>
            <a:t>Manutenção do nível de serviço: Gatilho de Investimentos</a:t>
          </a:r>
          <a:endParaRPr lang="pt-BR" sz="16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1046814" y="1306929"/>
        <a:ext cx="4738065" cy="511710"/>
      </dsp:txXfrm>
    </dsp:sp>
    <dsp:sp modelId="{91734D1C-68FA-45CF-95CD-6752F6D237A8}">
      <dsp:nvSpPr>
        <dsp:cNvPr id="0" name=""/>
        <dsp:cNvSpPr/>
      </dsp:nvSpPr>
      <dsp:spPr>
        <a:xfrm>
          <a:off x="5305005" y="434917"/>
          <a:ext cx="353308" cy="35330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/>
        </a:p>
      </dsp:txBody>
      <dsp:txXfrm>
        <a:off x="5384499" y="434917"/>
        <a:ext cx="194320" cy="265864"/>
      </dsp:txXfrm>
    </dsp:sp>
    <dsp:sp modelId="{7E9E55D2-7761-400C-8749-414DF3301F03}">
      <dsp:nvSpPr>
        <dsp:cNvPr id="0" name=""/>
        <dsp:cNvSpPr/>
      </dsp:nvSpPr>
      <dsp:spPr>
        <a:xfrm>
          <a:off x="5800800" y="1065436"/>
          <a:ext cx="353308" cy="35330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/>
        </a:p>
      </dsp:txBody>
      <dsp:txXfrm>
        <a:off x="5880294" y="1065436"/>
        <a:ext cx="194320" cy="265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73D8568-1D71-4C1F-9865-C17FD926641B}" type="datetimeFigureOut">
              <a:rPr lang="pt-BR"/>
              <a:pPr>
                <a:defRPr/>
              </a:pPr>
              <a:t>10/7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820150"/>
            <a:ext cx="3027363" cy="4619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956050" y="8820150"/>
            <a:ext cx="3027363" cy="4619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1303E3D5-CF27-422D-9E7C-42E9D5FB82A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5296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57638" y="0"/>
            <a:ext cx="3025775" cy="463550"/>
          </a:xfrm>
          <a:prstGeom prst="rect">
            <a:avLst/>
          </a:prstGeom>
        </p:spPr>
        <p:txBody>
          <a:bodyPr vert="horz" wrap="square" lIns="92958" tIns="46479" rIns="92958" bIns="4647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D88A759-5509-410D-8F4B-36E192F73F59}" type="datetimeFigureOut">
              <a:rPr lang="pt-BR"/>
              <a:pPr>
                <a:defRPr/>
              </a:pPr>
              <a:t>10/7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98500" y="4410075"/>
            <a:ext cx="5588000" cy="4176713"/>
          </a:xfrm>
          <a:prstGeom prst="rect">
            <a:avLst/>
          </a:prstGeom>
        </p:spPr>
        <p:txBody>
          <a:bodyPr vert="horz" wrap="square" lIns="92958" tIns="46479" rIns="92958" bIns="4647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816975"/>
            <a:ext cx="3027363" cy="465138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57638" y="8816975"/>
            <a:ext cx="3025775" cy="465138"/>
          </a:xfrm>
          <a:prstGeom prst="rect">
            <a:avLst/>
          </a:prstGeom>
        </p:spPr>
        <p:txBody>
          <a:bodyPr vert="horz" wrap="square" lIns="92958" tIns="46479" rIns="92958" bIns="4647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B4E493E-DC5C-4B44-8A9E-057DE79486E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7939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3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6554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7A6F6A8-4238-43A2-9118-568B737FC001}" type="slidenum">
              <a:rPr lang="pt-BR" smtClean="0">
                <a:ea typeface="MS PGothic" pitchFamily="34" charset="-128"/>
              </a:rPr>
              <a:pPr/>
              <a:t>2</a:t>
            </a:fld>
            <a:endParaRPr lang="pt-BR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 txBox="1">
            <a:spLocks noGrp="1" noChangeArrowheads="1"/>
          </p:cNvSpPr>
          <p:nvPr/>
        </p:nvSpPr>
        <p:spPr bwMode="auto">
          <a:xfrm>
            <a:off x="3997325" y="8847138"/>
            <a:ext cx="2954338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688" tIns="44344" rIns="88688" bIns="44344" anchor="b"/>
          <a:lstStyle/>
          <a:p>
            <a:pPr algn="r" defTabSz="885825"/>
            <a:fld id="{3AFA3512-8994-46C3-96FD-FACFAB9E2D9F}" type="slidenum">
              <a:rPr lang="pt-BR" sz="1100">
                <a:latin typeface="Times New Roman" pitchFamily="18" charset="0"/>
              </a:rPr>
              <a:pPr algn="r" defTabSz="885825"/>
              <a:t>4</a:t>
            </a:fld>
            <a:endParaRPr lang="pt-BR" sz="1100">
              <a:latin typeface="Times New Roman" pitchFamily="18" charset="0"/>
            </a:endParaRPr>
          </a:p>
        </p:txBody>
      </p:sp>
      <p:sp>
        <p:nvSpPr>
          <p:cNvPr id="66563" name="Rectangle 7"/>
          <p:cNvSpPr txBox="1">
            <a:spLocks noGrp="1" noChangeArrowheads="1"/>
          </p:cNvSpPr>
          <p:nvPr/>
        </p:nvSpPr>
        <p:spPr bwMode="auto">
          <a:xfrm>
            <a:off x="3957638" y="8816975"/>
            <a:ext cx="30257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6" rIns="91431" bIns="45716" anchor="b"/>
          <a:lstStyle/>
          <a:p>
            <a:pPr algn="r"/>
            <a:fld id="{D0A425B1-DF96-4871-9B89-277C08D70DB0}" type="slidenum">
              <a:rPr lang="pt-BR" sz="1200"/>
              <a:pPr algn="r"/>
              <a:t>4</a:t>
            </a:fld>
            <a:endParaRPr lang="pt-BR" sz="1200"/>
          </a:p>
        </p:txBody>
      </p:sp>
      <p:sp>
        <p:nvSpPr>
          <p:cNvPr id="665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lIns="91431" tIns="45716" rIns="91431" bIns="45716"/>
          <a:lstStyle/>
          <a:p>
            <a:pPr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 txBox="1">
            <a:spLocks noGrp="1" noChangeArrowheads="1"/>
          </p:cNvSpPr>
          <p:nvPr/>
        </p:nvSpPr>
        <p:spPr bwMode="auto">
          <a:xfrm>
            <a:off x="3997325" y="8847138"/>
            <a:ext cx="2954338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688" tIns="44344" rIns="88688" bIns="44344" anchor="b"/>
          <a:lstStyle/>
          <a:p>
            <a:pPr algn="r" defTabSz="885825"/>
            <a:fld id="{EC0C6B85-764B-40FF-BB60-5A0F0F18ED05}" type="slidenum">
              <a:rPr lang="pt-BR" sz="1100">
                <a:latin typeface="Times New Roman" pitchFamily="18" charset="0"/>
              </a:rPr>
              <a:pPr algn="r" defTabSz="885825"/>
              <a:t>5</a:t>
            </a:fld>
            <a:endParaRPr lang="pt-BR" sz="1100">
              <a:latin typeface="Times New Roman" pitchFamily="18" charset="0"/>
            </a:endParaRPr>
          </a:p>
        </p:txBody>
      </p:sp>
      <p:sp>
        <p:nvSpPr>
          <p:cNvPr id="67587" name="Rectangle 7"/>
          <p:cNvSpPr txBox="1">
            <a:spLocks noGrp="1" noChangeArrowheads="1"/>
          </p:cNvSpPr>
          <p:nvPr/>
        </p:nvSpPr>
        <p:spPr bwMode="auto">
          <a:xfrm>
            <a:off x="3957638" y="8816975"/>
            <a:ext cx="30257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6" rIns="91431" bIns="45716" anchor="b"/>
          <a:lstStyle/>
          <a:p>
            <a:pPr algn="r"/>
            <a:fld id="{1704001B-5356-4140-9361-F8E94BB1AB90}" type="slidenum">
              <a:rPr lang="pt-BR" sz="1200"/>
              <a:pPr algn="r"/>
              <a:t>5</a:t>
            </a:fld>
            <a:endParaRPr lang="pt-BR" sz="1200"/>
          </a:p>
        </p:txBody>
      </p:sp>
      <p:sp>
        <p:nvSpPr>
          <p:cNvPr id="675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lIns="91431" tIns="45716" rIns="91431" bIns="45716"/>
          <a:lstStyle/>
          <a:p>
            <a:pPr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3997325" y="8847138"/>
            <a:ext cx="2954338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688" tIns="44344" rIns="88688" bIns="44344" anchor="b"/>
          <a:lstStyle/>
          <a:p>
            <a:pPr algn="r" defTabSz="885825"/>
            <a:fld id="{B51387AC-67EA-4338-8F5F-DFAFA3EDC7F8}" type="slidenum">
              <a:rPr lang="pt-BR" sz="1100">
                <a:latin typeface="Times New Roman" pitchFamily="18" charset="0"/>
              </a:rPr>
              <a:pPr algn="r" defTabSz="885825"/>
              <a:t>6</a:t>
            </a:fld>
            <a:endParaRPr lang="pt-BR" sz="1100">
              <a:latin typeface="Times New Roman" pitchFamily="18" charset="0"/>
            </a:endParaRPr>
          </a:p>
        </p:txBody>
      </p:sp>
      <p:sp>
        <p:nvSpPr>
          <p:cNvPr id="68611" name="Rectangle 7"/>
          <p:cNvSpPr txBox="1">
            <a:spLocks noGrp="1" noChangeArrowheads="1"/>
          </p:cNvSpPr>
          <p:nvPr/>
        </p:nvSpPr>
        <p:spPr bwMode="auto">
          <a:xfrm>
            <a:off x="3957638" y="8816975"/>
            <a:ext cx="30257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6" rIns="91431" bIns="45716" anchor="b"/>
          <a:lstStyle/>
          <a:p>
            <a:pPr algn="r"/>
            <a:fld id="{E64712B2-5B48-4318-9267-09CF335F22FB}" type="slidenum">
              <a:rPr lang="pt-BR" sz="1200"/>
              <a:pPr algn="r"/>
              <a:t>6</a:t>
            </a:fld>
            <a:endParaRPr lang="pt-BR" sz="1200"/>
          </a:p>
        </p:txBody>
      </p:sp>
      <p:sp>
        <p:nvSpPr>
          <p:cNvPr id="686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lIns="91431" tIns="45716" rIns="91431" bIns="45716"/>
          <a:lstStyle/>
          <a:p>
            <a:pPr>
              <a:spcBef>
                <a:spcPct val="0"/>
              </a:spcBef>
            </a:pPr>
            <a:endParaRPr lang="pt-B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/>
          </a:p>
        </p:txBody>
      </p:sp>
      <p:sp>
        <p:nvSpPr>
          <p:cNvPr id="6963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743D1E6-AE87-47E8-A470-454BBCEEA342}" type="slidenum">
              <a:rPr lang="pt-BR" smtClean="0">
                <a:ea typeface="MS PGothic" pitchFamily="34" charset="-128"/>
              </a:rPr>
              <a:pPr/>
              <a:t>7</a:t>
            </a:fld>
            <a:endParaRPr lang="pt-BR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7066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BA9E25C-2BC9-4DEA-96C4-1AD114F90DCC}" type="slidenum">
              <a:rPr lang="pt-BR" smtClean="0">
                <a:ea typeface="MS PGothic" pitchFamily="34" charset="-128"/>
              </a:rPr>
              <a:pPr/>
              <a:t>8</a:t>
            </a:fld>
            <a:endParaRPr lang="pt-BR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7168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019F1AD-6FC2-4C30-8E1D-A7B888CB23D0}" type="slidenum">
              <a:rPr lang="pt-BR" smtClean="0">
                <a:ea typeface="MS PGothic" pitchFamily="34" charset="-128"/>
              </a:rPr>
              <a:pPr/>
              <a:t>10</a:t>
            </a:fld>
            <a:endParaRPr lang="pt-BR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757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513F591-9B78-4192-80D7-522AC06BBA8D}" type="slidenum">
              <a:rPr lang="pt-BR" smtClean="0">
                <a:ea typeface="MS PGothic" pitchFamily="34" charset="-128"/>
              </a:rPr>
              <a:pPr/>
              <a:t>16</a:t>
            </a:fld>
            <a:endParaRPr lang="pt-BR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z="4400"/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4739D037-184A-4F56-95AD-4F0776A47CF5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58177-F177-472B-97FB-E132EB63861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688E301F-2D76-47CE-812E-59D0897AF92A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18CEB7-995B-41E0-9046-446BD52FBA2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8150A76-5E7D-4500-9C7C-57CC86476459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7BCD51-C11B-4D57-B577-35C3BE74035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EB267695-F04B-4D66-ABBC-222EBE651EF5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CFF3ED-6726-4003-BC9C-3AB181D9B1E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7604FEE6-9226-48C8-B874-FA3F1B3BF40D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948E2-20E2-460A-ABF0-F599BC23D01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A8886226-B08B-4169-BFFB-B87530B04D46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EF7393-51F7-4E1B-B972-D652E55731E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69B4088A-00F3-46A6-AFCC-5117DC4DF868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3DDB2D-E3FE-4525-9969-22655BECF42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FC7227A2-5D1F-40E5-8B08-9F7C2B855F4D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C64B9-6C6D-42C2-A37E-C66C84198F4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1EE004F1-76CE-4966-AA3C-A8174A71C5A8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33AC3-89FF-4FD7-949A-C71B5509D18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E8EF6195-832E-44F0-B84B-F9BBB315577B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5BEF3A-9305-43F0-AFB0-6F032196AD8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A6F3C6A2-51BB-4F9D-97B2-C6C2494A6A89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462DB0-EE44-40C8-8367-FE0855200E3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6ABA506C-32ED-4175-837F-B7606B845885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A4641E-C450-45B8-9479-9F26AB8C0F5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x-none" noProof="0" smtClean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FD75FB6B-FFAE-4EB4-A2DB-71EB0DD567F1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A496A-5091-4CF4-B60A-69A524E3719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517BF93F-96B6-4461-96E2-D4D65BF61FCF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389F8-FF83-40FA-AF5E-8EB341D21DD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5196B820-443D-482A-ADE7-98101D7FD6DE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6E83E6-4820-4618-9950-553968B536A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B1385D11-29F6-485C-85D3-477689138215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EEF40-73FD-4281-B4B1-5BC44614A86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D3DE6D37-81C0-4C36-A29A-5AC73AF2F930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26A768-F03B-49CD-B27A-6C534C4E6D8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A6A2D6A1-4EE2-4E78-BA67-A17316DF2A4B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03E448-F842-4E92-ADF2-AA97CBEE1BD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16E0274E-C490-4002-864C-5CC14FE1CEC7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786BE-718B-4355-9877-5038A19858D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E58905DF-75F1-4449-91CE-66CEF5BBD5F6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5C894E-8A4D-4A8B-BFE3-EDB2AC4CEA6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C86BE556-55DD-4092-82EC-910BAB54846C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4C6B9E-7974-482A-B0B1-DF2D291AA82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8CBC1FAC-DEA7-4538-96C3-4196C0435DBC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37B95A-1A45-48E0-A1E5-4BF8404127B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5C0225A3-EDA2-47D6-B7C1-D89BCBFBA422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00BD6-5CF5-410C-9088-FCE96646397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8041B479-C21C-4664-920B-B68DD82FAFC3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568E5-FCC6-47B6-980D-CC8E976FCCE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x-none" noProof="0" smtClean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1BB430EE-5C98-4128-A0A8-9AA39E11D906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4A9CC6-BED4-417D-91F4-CAB6276A907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2435EC03-260F-46E1-9DFD-771123D92AC2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BF50F-BDD5-407A-9044-A8D4314A67B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05BF086-D382-422E-9A3C-C400C22542DF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3FADB-E2BD-4FC5-93D6-D636A88F013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0031889A-D4AB-4A09-A6B3-6492A569CACD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F026B-B561-4783-85AB-ABA42DF2E19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4ED93208-5612-44C8-854D-0BE2A67AC47B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82678D-34EF-4249-BECF-B6E01223239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70A70187-FAE3-4222-B09F-4BAA145A59C0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05BA4B-B8F7-4C89-8092-4FE35B75F30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ECD1E568-FD05-4E19-BC72-0F0056FB0988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72F3D2-FC8A-4929-AF4A-BC53AD18D58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ADAFB523-D39B-43FB-8418-43930A1C4319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BE3B21-985E-4492-B18E-6D04C9BCDBA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x-none" noProof="0" smtClean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F548BF1C-9DB6-47AA-B1AA-481243123FB3}" type="datetimeFigureOut">
              <a:rPr lang="en-US"/>
              <a:pPr>
                <a:defRPr/>
              </a:pPr>
              <a:t>7/10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133A1C-BE4C-40BE-AAB2-E7C1DAFF517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2590800" y="274638"/>
            <a:ext cx="6096000" cy="88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itle style</a:t>
            </a:r>
            <a:endParaRPr lang="en-US" smtClean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323975"/>
            <a:ext cx="8229600" cy="503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80175"/>
            <a:ext cx="1076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3525" y="6480175"/>
            <a:ext cx="606742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Títul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00950" y="6480175"/>
            <a:ext cx="10858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Pág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89" r:id="rId1"/>
    <p:sldLayoutId id="2147485990" r:id="rId2"/>
    <p:sldLayoutId id="2147485991" r:id="rId3"/>
    <p:sldLayoutId id="2147485992" r:id="rId4"/>
    <p:sldLayoutId id="2147485993" r:id="rId5"/>
    <p:sldLayoutId id="2147485994" r:id="rId6"/>
    <p:sldLayoutId id="2147485995" r:id="rId7"/>
    <p:sldLayoutId id="2147485996" r:id="rId8"/>
    <p:sldLayoutId id="2147485997" r:id="rId9"/>
    <p:sldLayoutId id="2147485998" r:id="rId10"/>
    <p:sldLayoutId id="2147485999" r:id="rId11"/>
    <p:sldLayoutId id="2147486000" r:id="rId12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8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2600325" y="274638"/>
            <a:ext cx="6086475" cy="90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itle style</a:t>
            </a:r>
            <a:endParaRPr lang="en-US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352550"/>
            <a:ext cx="82296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80175"/>
            <a:ext cx="1066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0" y="6480175"/>
            <a:ext cx="60769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Títul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00950" y="6480175"/>
            <a:ext cx="10858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Pág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01" r:id="rId1"/>
    <p:sldLayoutId id="2147486002" r:id="rId2"/>
    <p:sldLayoutId id="2147486003" r:id="rId3"/>
    <p:sldLayoutId id="2147486004" r:id="rId4"/>
    <p:sldLayoutId id="2147486005" r:id="rId5"/>
    <p:sldLayoutId id="2147486006" r:id="rId6"/>
    <p:sldLayoutId id="2147486007" r:id="rId7"/>
    <p:sldLayoutId id="2147486008" r:id="rId8"/>
    <p:sldLayoutId id="2147486009" r:id="rId9"/>
    <p:sldLayoutId id="2147486010" r:id="rId10"/>
    <p:sldLayoutId id="2147486011" r:id="rId11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8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2600325" y="274638"/>
            <a:ext cx="6086475" cy="90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itle style</a:t>
            </a:r>
            <a:endParaRPr lang="en-US" smtClean="0"/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352550"/>
            <a:ext cx="82296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80175"/>
            <a:ext cx="1066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0" y="6480175"/>
            <a:ext cx="60769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Títul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00950" y="6480175"/>
            <a:ext cx="10858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/>
              <a:t>Pág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12" r:id="rId1"/>
    <p:sldLayoutId id="2147486013" r:id="rId2"/>
    <p:sldLayoutId id="2147486014" r:id="rId3"/>
    <p:sldLayoutId id="2147486015" r:id="rId4"/>
    <p:sldLayoutId id="2147486016" r:id="rId5"/>
    <p:sldLayoutId id="2147486017" r:id="rId6"/>
    <p:sldLayoutId id="2147486018" r:id="rId7"/>
    <p:sldLayoutId id="2147486019" r:id="rId8"/>
    <p:sldLayoutId id="2147486020" r:id="rId9"/>
    <p:sldLayoutId id="2147486021" r:id="rId10"/>
    <p:sldLayoutId id="2147486022" r:id="rId11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8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just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1.xml"/><Relationship Id="rId3" Type="http://schemas.openxmlformats.org/officeDocument/2006/relationships/slideLayout" Target="../slideLayouts/slideLayout12.xml"/><Relationship Id="rId7" Type="http://schemas.openxmlformats.org/officeDocument/2006/relationships/diagramLayout" Target="../diagrams/layout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11.xml"/><Relationship Id="rId5" Type="http://schemas.openxmlformats.org/officeDocument/2006/relationships/image" Target="../media/image11.emf"/><Relationship Id="rId10" Type="http://schemas.microsoft.com/office/2007/relationships/diagramDrawing" Target="../diagrams/drawing1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12.xml"/><Relationship Id="rId7" Type="http://schemas.openxmlformats.org/officeDocument/2006/relationships/diagramLayout" Target="../diagrams/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5.xml"/><Relationship Id="rId5" Type="http://schemas.openxmlformats.org/officeDocument/2006/relationships/image" Target="../media/image1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ubtitle 2"/>
          <p:cNvSpPr>
            <a:spLocks noGrp="1"/>
          </p:cNvSpPr>
          <p:nvPr>
            <p:ph type="subTitle" idx="1"/>
          </p:nvPr>
        </p:nvSpPr>
        <p:spPr>
          <a:xfrm>
            <a:off x="685800" y="2800350"/>
            <a:ext cx="8054975" cy="2566988"/>
          </a:xfrm>
        </p:spPr>
        <p:txBody>
          <a:bodyPr/>
          <a:lstStyle/>
          <a:p>
            <a:r>
              <a:rPr lang="pt-BR" sz="3400" b="1" dirty="0" smtClean="0">
                <a:solidFill>
                  <a:schemeClr val="tx1"/>
                </a:solidFill>
              </a:rPr>
              <a:t>Concessões Aeroportuárias</a:t>
            </a:r>
          </a:p>
          <a:p>
            <a:endParaRPr lang="en-US" dirty="0" smtClean="0">
              <a:solidFill>
                <a:srgbClr val="898989"/>
              </a:solidFill>
            </a:endParaRPr>
          </a:p>
          <a:p>
            <a:endParaRPr lang="en-US" sz="1800" dirty="0" smtClean="0">
              <a:solidFill>
                <a:srgbClr val="898989"/>
              </a:solidFill>
            </a:endParaRPr>
          </a:p>
          <a:p>
            <a:r>
              <a:rPr lang="en-US" sz="2200" b="1" dirty="0" smtClean="0">
                <a:solidFill>
                  <a:srgbClr val="898989"/>
                </a:solidFill>
              </a:rPr>
              <a:t>Marcelo Guaranys</a:t>
            </a:r>
          </a:p>
          <a:p>
            <a:r>
              <a:rPr lang="en-US" sz="1800" dirty="0" err="1" smtClean="0">
                <a:solidFill>
                  <a:srgbClr val="898989"/>
                </a:solidFill>
              </a:rPr>
              <a:t>Diretor</a:t>
            </a:r>
            <a:r>
              <a:rPr lang="en-US" sz="1800" dirty="0" smtClean="0">
                <a:solidFill>
                  <a:srgbClr val="898989"/>
                </a:solidFill>
              </a:rPr>
              <a:t>-Presidente</a:t>
            </a:r>
          </a:p>
        </p:txBody>
      </p:sp>
      <p:sp>
        <p:nvSpPr>
          <p:cNvPr id="40963" name="CaixaDeTexto 3"/>
          <p:cNvSpPr txBox="1">
            <a:spLocks noChangeArrowheads="1"/>
          </p:cNvSpPr>
          <p:nvPr/>
        </p:nvSpPr>
        <p:spPr bwMode="auto">
          <a:xfrm>
            <a:off x="5359400" y="6165850"/>
            <a:ext cx="37798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b="1">
                <a:solidFill>
                  <a:srgbClr val="FFFFFF"/>
                </a:solidFill>
              </a:rPr>
              <a:t>Brasília-DF, 10 de julho de 2013</a:t>
            </a:r>
          </a:p>
        </p:txBody>
      </p:sp>
      <p:sp>
        <p:nvSpPr>
          <p:cNvPr id="40964" name="Título 1"/>
          <p:cNvSpPr txBox="1">
            <a:spLocks/>
          </p:cNvSpPr>
          <p:nvPr/>
        </p:nvSpPr>
        <p:spPr bwMode="auto">
          <a:xfrm>
            <a:off x="250825" y="1198563"/>
            <a:ext cx="8893175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pt-BR" sz="2400">
                <a:solidFill>
                  <a:srgbClr val="1F497D"/>
                </a:solidFill>
                <a:latin typeface="Calibri" pitchFamily="34" charset="0"/>
              </a:rPr>
              <a:t>CÂMARA DOS DEPUTADOS</a:t>
            </a:r>
          </a:p>
          <a:p>
            <a:pPr algn="ctr" eaLnBrk="0" hangingPunct="0"/>
            <a:r>
              <a:rPr lang="pt-BR" sz="2400" b="1">
                <a:solidFill>
                  <a:srgbClr val="1F497D"/>
                </a:solidFill>
                <a:latin typeface="Calibri" pitchFamily="34" charset="0"/>
              </a:rPr>
              <a:t>Comissão de Viação e Transportes</a:t>
            </a:r>
          </a:p>
          <a:p>
            <a:pPr algn="ctr" eaLnBrk="0" hangingPunct="0"/>
            <a:endParaRPr lang="pt-BR" sz="2400">
              <a:solidFill>
                <a:srgbClr val="1F497D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AutoShape 2" descr="data:image/jpeg;base64,/9j/4AAQSkZJRgABAQAAAQABAAD/2wCEAAkGBhQQEA8UEBQUEBIUFRUUDxAUFBAUFBIVFRAVFxQQFBQXGyYeFxkjGRUUHy8gIycpLCwsFR4xNTAqNSYsLCkBCQoKDgwOFw8PGCklHyQsKSwpKiwpLCwpLCwpLCkpKSksKSwpKSksLCkpLCkpKSkpKSwsLCksKSwuKSksKSwsKf/AABEIAOEA4QMBIgACEQEDEQH/xAAcAAEAAgIDAQAAAAAAAAAAAAAAAQcFBgIECAP/xABHEAACAQMABgQICgkCBwAAAAAAAQIDBBEFBgcSITFBUWGREyIyUnGBocEUFiNCVJKx0eHwM1NicoKissLxF3M0Q4OTs9LT/8QAGwEBAAIDAQEAAAAAAAAAAAAAAAEEAgMFBgf/xAArEQEAAgIBAwIFBAMBAAAAAAAAAQIDEQQSITFBUQUTFCIyIzNSYQYWkRX/2gAMAwEAAhEDEQA/ALxAAAAAAAAAAAAAAAAAAAAAAAAAAAAAAAAAAAAAAAAAAAAAAAAAAAAAAAAAAAEZGQJBGRkCQQMgSCCQAAAAAAAAAAAAAAAAAAAAAACGyN4DkccHUvtK06EXKrNQj1trj6Osr/T21xJuNpDef6yakl6o8GYzaIaMmemPzKyKlVRTbaS6zX9J6/WlDO9VU2ucYYm/WugqC90xd3r8aVSqvNgm0uxJcT6WepV5W8ijJdW/iH9WDCbz6Qo25t7ft1bpf7YYrKo0XJdEpPH8uPeYS42s3b8hU4Ltg3/cjrU9l98+cIr/AKlN/ZImpsuvV5MIy/jpr7ZET1q9r8q3pP8Ax8qm0q9fz4r0Rkv7jjDaRe/rF3P7zr3uol5S4zot/uOM33RbMLcWc6bxUhKm+qUXF+1GG7K1r56+dtwt9rN3FrfVKS6lFp9+8Z/R+2Cm2lXpSprplF73r3cLgVWgn1DrmE15mWvq9DaJ1noXSTo1Iyfm5xLuMnk800a0oNOLcWuOUb/qptPnTcad2/CRfCNXD3l+9zWMeg2Rk26ODn1tOr9ltIk69pdxqQjKElKL5Ncj7pm104naQAEgAAAAAAAAAAAAAQMnXvL2FKLlUkoxXNsImdd31nUSWXw7WaTrPtHhRcqdsvD1eTay4x+/1HUvL660rJwtt63tc4nWeVKeOeMceb5dhsWgNSLezS3IKU1zqSScs9afQR58K1rXydqdo92g0NT7/SUlUupunB8t5rl+zBNpetG36I2X2tFLfTrS65PHsXA2+Mf8nIiKwU4tInc95dW20bTp+RCMfRGK+w7SRJGDJZiIjwjAwcgEuDR077Q9KsmqsIzXaln1Pmd8hhjNYnyrjWPZTCSc7R7kuinLyX6Jc/aVnfWE6FSVOrFwlHmn9qZ6Swa3rjqnC+pPgvCxTdKeOOceS+x4NVqbc7k8Kto6qdpUQwfe8tZUpzhNNSi3F57Ok+BpcKe3ZuOoOubtKkadVt0JvHHPybzz9vsLoo1FJJrinyPM2eWPz1YLn2Yaf+EW3g5vM6XDPS4vk/tN2O3o7PA5Ez9lm7ZBBJtdcAAAAAACMgSCMgCSGScJvuA697exowlObxFc37l1s1uOiamkJqpdpwt080rbjmWPn1Pux0LiZpWTrVFOr5Mf0dPo/el1syUY4Ia5r1eXGhRjCKUUopLCSWEl1H0QQbJbDBJwUxKolz4LpYHJsg1PT206xtMqVWNSa+ZTe96t6OUjSb/b7n9Bb47akk0/UkjbXFe3iBceSMlEy283eeFKhjq3an/sd6x2+TT+Wt4yXT4OW6/5smX0+T2TpdJJpWr+1iyu2o7/AIGo+VOfDm8Y3mksm5qafLj3Gm1Zr2lDlg4tE5IZAqTa3oZU6tOvFJKp4ssLHjJc36kV8y5tq9upWW8/myTXr4e8pnJXvGped5uPpyzpOTb9l+kPB30YdFSLTXRw4x+1mn5MtqlVcb60x01acfrVIpkV7S0YJmuSJehkcjhFnIsvUQkENhMJSAAIbKn2161VrWdrC3qSptqo6m70/o93+4tds887aL7wmk5Rz4tOEF/Fjib+PXqv3GCevl99Iqd/4EfH2++kT70YDAOp8uvsybB8fb76RPvIlr7ffSKnoz+BgAPl19hn/j5ffSamerP54k/H2++kT7zXwOivsNg+P199In3ozOp2td7c39pSlXm4zqJT48MYeWzRjaNnekqdrduvWfi0qU5xj0ympRSiu3i+4wyUjpnUD0JrDrNRsaTqXEt3ojFeVJ9UUUTrhtRub5uEJOhQ6IQeHLjznLyulcmYLWnWqtpGtKrWlwT+Tpp8IRfQvvxx9RhjVh48V7z5NJk2288X054+18SAzkoPOEsvq4lvwlxD7fYdqjourPLjTm+vhJe4+FWhKPlRcfTF+8jcDs6Gp71xbJc3Vp45frI59mS3ts+sVe0nZwt6kqacJuW7j5soJfaVjqTQ39IWkel1E+S6E37jb9u1fevqUfMpv+bcfuK14icsQhqfx9vvpE+8fH2++k1O8wBJv6K+wtDZfpavpC8lSuqkq1JQ3pQlxT44XtwWz8TbT9TDuKo2B0M3d1LqopL0uoi8Tl8iI65012x1tO5hhfibafqYdxitadA29tZ3VWnTjCpClUlSmlxjUVOTg1/EkbealtTuNzRd0+tbv1sr3mmsR1QxjFSPRRHx9vvpNTHpHx9vvpE+/wDAwBB2Yx19m7TYFr5ffSKnHmso9N6Mz4KnvPMscW+k8mWFDwlWnDzpKPeeuaPJegpcuIjWkS5gAo7Q4t4TZ5h14VStpC8nuSadWaj4r8lSeD09g4fBIeZH6qN2LJ8ud6S8juxqeZP6rONW1nHG9GSy+DcWvUeuvgkPMj9WP3FR7ea0Y07WlFRi3J1HhJPG7KPR6i5j5M3trSdqcAQaLqUwg20ksvqR9/gFTzJ/VZtuyTRSr6TpbyzGnvTfTxSW6eiVaQ8yH1Y/cVMvI+XOmLyQ7Cp5ku59Z8PyvV2np3XzScLKwuKqhDexuwW6uLk0sd2X6jzFnn+fSZ4cs5O8wkX5+4nP+fzyIMnq3oOV7dUaFPnN+M+jdSzKXcmb5nUbGU1J1DraSqeJ4lBPFSs14uceTHob9ZeWrmzezs4x3KSqTX/MqeNLK6U+gzOhNCwtKNOlRSjGKS4dLxxk+0yKRysue15/pG3GNFLgkuzgdPSWgqNxFxrUoVFj5yXT2mQIwaNzCFbW+yeFrpO2ubV/IxlJ1aUnxjmlNJxfVlrhgr3bNX3tLVV0KnSS9Pg1k9EuJ5l2l19/Sl2/2931xbWPYW+NM2vuUw1clEA6TJcmwGhwu59qjns4MuEq/YLQxZ3D663B9m4i0Dj55/UljIaBtrr7uiprzqlP2SN+yVht4uMWdCPnVHw/dUX7zHFG7wiFFfn2ANg7TNmNT6HhNIWUPOrQXrbPVdNcEeY9mdDf0rZ/s1Iz7ml7z05E5vLn7ohjKcAZBRQkAGQFA7cr7fv6cFyp0kmu1ycvsZfx5j2nXXhNK3kujego9mKFNY78lrix9+0w1YkhEnUZLe2BaP8AGuqrXRGMH2pve+1FyorvYdabmjZSfOdabXo3YYLFONmnd5YSqnb5etW1tSTxmpvvtShUWO9lIZ/D3lxbfo/8I+jiv6/uKdz+fSdDi/tsoC1dg2jVKvdVWs7sVGD6nlZ9jKqLe2BXi3run04jPHpaXuJ5G4xySuZEkRJOSxAABxk+DPKmuFXf0hfN/Sa6Xqrzweqa68WS600u48oazxxe3qfRcV+9V5lziflKYY4fgQDpMnofYtb7ujIS8+Upd0pR9xvxV2xDWCM7WVs3ipSbaj1wbzletss442b852wTkp/b/cZjZQzylUk/XGK9xbdWsoptvCXlPq4ZyzzltQ1qV/eydN5pUluU3z3msty9qNnGrM32mGnkAHVS3rYzb7+lIfs05z+rOn956KRSOwXRjlcXNbohDwcX+/LL/oLuTOVyp3dEpABUQAAyA8m6yV9+7uZPpqS9jx7j1izyLpR5r3H+7U/8ki5xPylMOsQCTpMnpTZPSxoq1/aW93/4NwNT2Xzzoqy7KePabYcTJ+UsFa7dNGOpYU6kV+iqqU3+zuTj/VJFCfn8D1pp7RUbq3rUZ+TUi160017UeVtKaNnbVqlKpwnB7ss8MuOVvLsZe4l9x0ph1DYNR9ZHYXlOr818Ky5Zg8re9T6DAEY/D0ly1eqNJeu7G/jWpwqU2pQmk4tdqOxvHmnUraPX0c91Yq0G8ypSTyutwaa4+ntLa0VtjsKsVvzlRl5k4yb9corBycmC1J/pGm+5GTU7naho+Cy7hPqxCbz3I0vWXbnFJxsqe82n8rUT3fTGOU8+kxrivae0Gm963a5U7JU4ZTrVZ04U6ecPEqkU5PsSb7ik9rWh/g+k6rXk1flIvrk8OftkzoavXlS80nbSrSdWUqibzjHDMsY7MFzbVtUHfWrlTWa1HMoY+dF8ZR9mfUWax8m8RI86j8TlODTaaw08ST6HnkyDoMnZ0dpKpbVI1KMnTnHlJe1Fg2O3O6hBKpTp1WlhSw03jpfHiVoMGu+Ot/MIbXrPtKu7+LhUkqdPzKacU/3uPE1T8/5CBlWla+AJjFvgubax188Efn7y0dkmz+VWrC6uI/JQ40YvhvzzhNrzUt4xyZIpG0rI2a6s/AbGnGSxUn49RdKb47r9GTa8ERRyONa3VO2AACAAAEM8l6xWzp3VzF8/Cyz63vL7UetGVBrfsxhWvK1V1ZQ8I01FRT5QjHr60T9Zj4kTfJ4bMdJvOoU0SvyyzP8ASan+vn9RfeT/AKS0/wBfP6i+81/7Fwv5LH0t/Zvuxu8VTRdJL5kpQa9CT95vRpGzXQkbGlUpKbmnNzWVjDaWensRuxGPkU5EdeOeytes1nUokistrOz13UfhNtH5aC+Uj0zj2dv3ss7BEkb6Xmk7hg8etNNp8JLhh8Mfssgv3XrZLTvHKrbYpVnzj8yf3PtKW05q1cWU924pyp9Un5L49DOrizVuyYsEtYIN3lIGMf4PvaWM60lGnBzk+UY8WyJmI8jZNltDf0tZrozNv1UamD0vjJUWy3ZrcW1eF1cpU8J7tPL3uMZLisdTLeOXyLRa/ZjKqdpOyjw8p3Fkl4V5dSjnCk+e9Ht58M44lL3dpOlJxqRcJLg1JNNtdK6z1/gwmsOp1rfLFxSjJ+esKfo3sZJxcmadpNvK3sBdek9g1JtuhXlTXRCUVLH8TZiVsFrN/p4Y68e4uRycc+qdqq9r6EfS2t5VJbsIuUnyjFN8S59G7BKUWnXrzqLphGKj/Mmb5q9qZa2KXgKSjLz3hz+tzNd+VWPBtWGoWx6U3CvfrcjzjQzxeHwc8cEvQy57e3jCMYwSjGKxFLoPrujBQvktedyjYiQDBAAAAAAiSMHrBbZSkujg/QZxnxuaKnFp8mUudx/qMFqNmK/RaJaWD7XNu4TcX6j4nzLJS2O01tD0FbRaNw+9nceDmpd/oNvo1VKKa6TSTK6I0puPdl5PR2HoPgnxCMNvlX8So8vDNo6obLkM4wnnijme5iYmNw5Ljunyr2sakXGcVKL5xfFP0o+4JGnaQ2UaPrNv4PGk3zdJQh6+T4mL/wBC7Dzrj/uw/wDmWKDOMlo9RpFjse0fSeXTdX/dcJ/2o2nRuhKNtHdt6UKMeqEUkd4ETaZ8yOO6MHIhmIZIlI+de4UFmTSRj41ZV3wzGn0vpZWyZ4rPTXvLOK77u1GpvvEeXzn1+hnaSONKmopJcj6GzHWdbt5YzKEgSDagAAAAAAAAAAAjBIAxmltG+EWV5SNZnBp4fB9RvGDGaS0QqnFcJfaea+LfCfnfqYvPt7r3G5PR9tvDWBk+te2lB4ksdvQfLJ4q+O2O2rQ60Wi0bh37DS8qTw+MTYbbSMKi4P1GnpnKEsPK4dqZ2OH8Zy8eOm3eFXLxK37x5bwmDVKGmKkeneR3aesnnRx6H+B6XF8c4147zpQtxMlfRngYhaxw6U+4PWSHVLuLf/p8bW+tq+Rk9mXGTBVNZF82Pe8e46lbTlSXLxexZbK+T41xq/jO5Zxxck+jZKldR5vBi7rTy5U05P2GOpWNWs/GzjrbfsM1ZaJjT6N5+c+ZrryOVy51jr01958sppjx+Z3Lp22jp1XvVuXmdBmadNJJLkcsBHU4/Grij3n3V73mycAAtMAAAAAAAAAAAAAAAAAhokAfCvaxmsSWTEXWr3TB47DPDBS5HAw8j86tlMtqeJafW0ZUjzi36Fk6zg1zTXpN43T5yoRfNLuOFl/x2k96WXK820eYaUQbk7GD+au4lWcF81dxW/1y/wDJs+uj2abGDfJN+g7NPR1SXKLXp4G2RoJckl6jnulnH/jtI/OzXPOt6Q1631dk/LeOz8TKWuiIU+jL62d7BODr8f4Xx8Pete6tfPe3mXBRxyOROAdKI12hoAASAAAAAAAAAAAAAAAAAAAAAAAABBIAgEgCCQ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>
              <a:latin typeface="Georgia" pitchFamily="18" charset="0"/>
            </a:endParaRPr>
          </a:p>
        </p:txBody>
      </p:sp>
      <p:graphicFrame>
        <p:nvGraphicFramePr>
          <p:cNvPr id="18" name="Content Placeholder 1"/>
          <p:cNvGraphicFramePr>
            <a:graphicFrameLocks noGrp="1"/>
          </p:cNvGraphicFramePr>
          <p:nvPr>
            <p:ph idx="1"/>
          </p:nvPr>
        </p:nvGraphicFramePr>
        <p:xfrm>
          <a:off x="457200" y="1763713"/>
          <a:ext cx="8229600" cy="4185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3024188" y="95000"/>
            <a:ext cx="6119812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rincipais Informações </a:t>
            </a:r>
            <a:b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51205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A41B70C-B066-4677-8066-1E4626B1CC98}" type="slidenum">
              <a:rPr lang="en-US" smtClean="0">
                <a:ea typeface="MS PGothic" pitchFamily="34" charset="-128"/>
              </a:rPr>
              <a:pPr/>
              <a:t>10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ta para a direita 8"/>
          <p:cNvSpPr/>
          <p:nvPr/>
        </p:nvSpPr>
        <p:spPr>
          <a:xfrm>
            <a:off x="215900" y="1090613"/>
            <a:ext cx="8712200" cy="5216525"/>
          </a:xfrm>
          <a:prstGeom prst="rightArrow">
            <a:avLst>
              <a:gd name="adj1" fmla="val 50000"/>
              <a:gd name="adj2" fmla="val 44071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orma livre 9"/>
          <p:cNvSpPr/>
          <p:nvPr/>
        </p:nvSpPr>
        <p:spPr>
          <a:xfrm>
            <a:off x="247650" y="1916113"/>
            <a:ext cx="5349875" cy="576262"/>
          </a:xfrm>
          <a:custGeom>
            <a:avLst/>
            <a:gdLst>
              <a:gd name="connsiteX0" fmla="*/ 0 w 6206463"/>
              <a:gd name="connsiteY0" fmla="*/ 130442 h 782639"/>
              <a:gd name="connsiteX1" fmla="*/ 38206 w 6206463"/>
              <a:gd name="connsiteY1" fmla="*/ 38206 h 782639"/>
              <a:gd name="connsiteX2" fmla="*/ 130443 w 6206463"/>
              <a:gd name="connsiteY2" fmla="*/ 1 h 782639"/>
              <a:gd name="connsiteX3" fmla="*/ 6076021 w 6206463"/>
              <a:gd name="connsiteY3" fmla="*/ 0 h 782639"/>
              <a:gd name="connsiteX4" fmla="*/ 6168257 w 6206463"/>
              <a:gd name="connsiteY4" fmla="*/ 38206 h 782639"/>
              <a:gd name="connsiteX5" fmla="*/ 6206462 w 6206463"/>
              <a:gd name="connsiteY5" fmla="*/ 130443 h 782639"/>
              <a:gd name="connsiteX6" fmla="*/ 6206463 w 6206463"/>
              <a:gd name="connsiteY6" fmla="*/ 652197 h 782639"/>
              <a:gd name="connsiteX7" fmla="*/ 6168257 w 6206463"/>
              <a:gd name="connsiteY7" fmla="*/ 744433 h 782639"/>
              <a:gd name="connsiteX8" fmla="*/ 6076021 w 6206463"/>
              <a:gd name="connsiteY8" fmla="*/ 782639 h 782639"/>
              <a:gd name="connsiteX9" fmla="*/ 130442 w 6206463"/>
              <a:gd name="connsiteY9" fmla="*/ 782639 h 782639"/>
              <a:gd name="connsiteX10" fmla="*/ 38206 w 6206463"/>
              <a:gd name="connsiteY10" fmla="*/ 744433 h 782639"/>
              <a:gd name="connsiteX11" fmla="*/ 1 w 6206463"/>
              <a:gd name="connsiteY11" fmla="*/ 652197 h 782639"/>
              <a:gd name="connsiteX12" fmla="*/ 0 w 6206463"/>
              <a:gd name="connsiteY12" fmla="*/ 130442 h 782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06463" h="782639">
                <a:moveTo>
                  <a:pt x="0" y="130442"/>
                </a:moveTo>
                <a:cubicBezTo>
                  <a:pt x="0" y="95847"/>
                  <a:pt x="13743" y="62668"/>
                  <a:pt x="38206" y="38206"/>
                </a:cubicBezTo>
                <a:cubicBezTo>
                  <a:pt x="62669" y="13743"/>
                  <a:pt x="95847" y="0"/>
                  <a:pt x="130443" y="1"/>
                </a:cubicBezTo>
                <a:lnTo>
                  <a:pt x="6076021" y="0"/>
                </a:lnTo>
                <a:cubicBezTo>
                  <a:pt x="6110616" y="0"/>
                  <a:pt x="6143795" y="13743"/>
                  <a:pt x="6168257" y="38206"/>
                </a:cubicBezTo>
                <a:cubicBezTo>
                  <a:pt x="6192720" y="62669"/>
                  <a:pt x="6206463" y="95847"/>
                  <a:pt x="6206462" y="130443"/>
                </a:cubicBezTo>
                <a:cubicBezTo>
                  <a:pt x="6206462" y="304361"/>
                  <a:pt x="6206463" y="478279"/>
                  <a:pt x="6206463" y="652197"/>
                </a:cubicBezTo>
                <a:cubicBezTo>
                  <a:pt x="6206463" y="686792"/>
                  <a:pt x="6192720" y="719971"/>
                  <a:pt x="6168257" y="744433"/>
                </a:cubicBezTo>
                <a:cubicBezTo>
                  <a:pt x="6143794" y="768896"/>
                  <a:pt x="6110616" y="782639"/>
                  <a:pt x="6076021" y="782639"/>
                </a:cubicBezTo>
                <a:lnTo>
                  <a:pt x="130442" y="782639"/>
                </a:lnTo>
                <a:cubicBezTo>
                  <a:pt x="95847" y="782639"/>
                  <a:pt x="62668" y="768896"/>
                  <a:pt x="38206" y="744433"/>
                </a:cubicBezTo>
                <a:cubicBezTo>
                  <a:pt x="13743" y="719970"/>
                  <a:pt x="0" y="686792"/>
                  <a:pt x="1" y="652197"/>
                </a:cubicBezTo>
                <a:cubicBezTo>
                  <a:pt x="1" y="478279"/>
                  <a:pt x="0" y="304360"/>
                  <a:pt x="0" y="13044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0125" tIns="160125" rIns="160125" bIns="160125" spcCol="1270" anchor="ctr"/>
          <a:lstStyle/>
          <a:p>
            <a:pPr algn="ctr" defTabSz="14224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3200" b="1" dirty="0" err="1"/>
              <a:t>Fase</a:t>
            </a:r>
            <a:r>
              <a:rPr lang="en-US" sz="3200" b="1" dirty="0"/>
              <a:t> I</a:t>
            </a:r>
          </a:p>
        </p:txBody>
      </p:sp>
      <p:sp>
        <p:nvSpPr>
          <p:cNvPr id="24" name="Forma livre 23"/>
          <p:cNvSpPr/>
          <p:nvPr/>
        </p:nvSpPr>
        <p:spPr>
          <a:xfrm>
            <a:off x="5580063" y="1916113"/>
            <a:ext cx="3348037" cy="576262"/>
          </a:xfrm>
          <a:custGeom>
            <a:avLst/>
            <a:gdLst>
              <a:gd name="connsiteX0" fmla="*/ 0 w 6206463"/>
              <a:gd name="connsiteY0" fmla="*/ 130442 h 782639"/>
              <a:gd name="connsiteX1" fmla="*/ 38206 w 6206463"/>
              <a:gd name="connsiteY1" fmla="*/ 38206 h 782639"/>
              <a:gd name="connsiteX2" fmla="*/ 130443 w 6206463"/>
              <a:gd name="connsiteY2" fmla="*/ 1 h 782639"/>
              <a:gd name="connsiteX3" fmla="*/ 6076021 w 6206463"/>
              <a:gd name="connsiteY3" fmla="*/ 0 h 782639"/>
              <a:gd name="connsiteX4" fmla="*/ 6168257 w 6206463"/>
              <a:gd name="connsiteY4" fmla="*/ 38206 h 782639"/>
              <a:gd name="connsiteX5" fmla="*/ 6206462 w 6206463"/>
              <a:gd name="connsiteY5" fmla="*/ 130443 h 782639"/>
              <a:gd name="connsiteX6" fmla="*/ 6206463 w 6206463"/>
              <a:gd name="connsiteY6" fmla="*/ 652197 h 782639"/>
              <a:gd name="connsiteX7" fmla="*/ 6168257 w 6206463"/>
              <a:gd name="connsiteY7" fmla="*/ 744433 h 782639"/>
              <a:gd name="connsiteX8" fmla="*/ 6076021 w 6206463"/>
              <a:gd name="connsiteY8" fmla="*/ 782639 h 782639"/>
              <a:gd name="connsiteX9" fmla="*/ 130442 w 6206463"/>
              <a:gd name="connsiteY9" fmla="*/ 782639 h 782639"/>
              <a:gd name="connsiteX10" fmla="*/ 38206 w 6206463"/>
              <a:gd name="connsiteY10" fmla="*/ 744433 h 782639"/>
              <a:gd name="connsiteX11" fmla="*/ 1 w 6206463"/>
              <a:gd name="connsiteY11" fmla="*/ 652197 h 782639"/>
              <a:gd name="connsiteX12" fmla="*/ 0 w 6206463"/>
              <a:gd name="connsiteY12" fmla="*/ 130442 h 782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06463" h="782639">
                <a:moveTo>
                  <a:pt x="0" y="130442"/>
                </a:moveTo>
                <a:cubicBezTo>
                  <a:pt x="0" y="95847"/>
                  <a:pt x="13743" y="62668"/>
                  <a:pt x="38206" y="38206"/>
                </a:cubicBezTo>
                <a:cubicBezTo>
                  <a:pt x="62669" y="13743"/>
                  <a:pt x="95847" y="0"/>
                  <a:pt x="130443" y="1"/>
                </a:cubicBezTo>
                <a:lnTo>
                  <a:pt x="6076021" y="0"/>
                </a:lnTo>
                <a:cubicBezTo>
                  <a:pt x="6110616" y="0"/>
                  <a:pt x="6143795" y="13743"/>
                  <a:pt x="6168257" y="38206"/>
                </a:cubicBezTo>
                <a:cubicBezTo>
                  <a:pt x="6192720" y="62669"/>
                  <a:pt x="6206463" y="95847"/>
                  <a:pt x="6206462" y="130443"/>
                </a:cubicBezTo>
                <a:cubicBezTo>
                  <a:pt x="6206462" y="304361"/>
                  <a:pt x="6206463" y="478279"/>
                  <a:pt x="6206463" y="652197"/>
                </a:cubicBezTo>
                <a:cubicBezTo>
                  <a:pt x="6206463" y="686792"/>
                  <a:pt x="6192720" y="719971"/>
                  <a:pt x="6168257" y="744433"/>
                </a:cubicBezTo>
                <a:cubicBezTo>
                  <a:pt x="6143794" y="768896"/>
                  <a:pt x="6110616" y="782639"/>
                  <a:pt x="6076021" y="782639"/>
                </a:cubicBezTo>
                <a:lnTo>
                  <a:pt x="130442" y="782639"/>
                </a:lnTo>
                <a:cubicBezTo>
                  <a:pt x="95847" y="782639"/>
                  <a:pt x="62668" y="768896"/>
                  <a:pt x="38206" y="744433"/>
                </a:cubicBezTo>
                <a:cubicBezTo>
                  <a:pt x="13743" y="719970"/>
                  <a:pt x="0" y="686792"/>
                  <a:pt x="1" y="652197"/>
                </a:cubicBezTo>
                <a:cubicBezTo>
                  <a:pt x="1" y="478279"/>
                  <a:pt x="0" y="304360"/>
                  <a:pt x="0" y="13044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0125" tIns="160125" rIns="160125" bIns="160125" spcCol="1270" anchor="ctr"/>
          <a:lstStyle/>
          <a:p>
            <a:pPr algn="ctr" defTabSz="14224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3200" b="1" dirty="0" err="1"/>
              <a:t>Fase</a:t>
            </a:r>
            <a:r>
              <a:rPr lang="en-US" sz="3200" b="1" dirty="0"/>
              <a:t> II</a:t>
            </a:r>
          </a:p>
        </p:txBody>
      </p:sp>
      <p:sp>
        <p:nvSpPr>
          <p:cNvPr id="33" name="Forma livre 32"/>
          <p:cNvSpPr/>
          <p:nvPr/>
        </p:nvSpPr>
        <p:spPr>
          <a:xfrm>
            <a:off x="325438" y="2636838"/>
            <a:ext cx="2579687" cy="500062"/>
          </a:xfrm>
          <a:custGeom>
            <a:avLst/>
            <a:gdLst>
              <a:gd name="connsiteX0" fmla="*/ 0 w 6206463"/>
              <a:gd name="connsiteY0" fmla="*/ 130442 h 782639"/>
              <a:gd name="connsiteX1" fmla="*/ 38206 w 6206463"/>
              <a:gd name="connsiteY1" fmla="*/ 38206 h 782639"/>
              <a:gd name="connsiteX2" fmla="*/ 130443 w 6206463"/>
              <a:gd name="connsiteY2" fmla="*/ 1 h 782639"/>
              <a:gd name="connsiteX3" fmla="*/ 6076021 w 6206463"/>
              <a:gd name="connsiteY3" fmla="*/ 0 h 782639"/>
              <a:gd name="connsiteX4" fmla="*/ 6168257 w 6206463"/>
              <a:gd name="connsiteY4" fmla="*/ 38206 h 782639"/>
              <a:gd name="connsiteX5" fmla="*/ 6206462 w 6206463"/>
              <a:gd name="connsiteY5" fmla="*/ 130443 h 782639"/>
              <a:gd name="connsiteX6" fmla="*/ 6206463 w 6206463"/>
              <a:gd name="connsiteY6" fmla="*/ 652197 h 782639"/>
              <a:gd name="connsiteX7" fmla="*/ 6168257 w 6206463"/>
              <a:gd name="connsiteY7" fmla="*/ 744433 h 782639"/>
              <a:gd name="connsiteX8" fmla="*/ 6076021 w 6206463"/>
              <a:gd name="connsiteY8" fmla="*/ 782639 h 782639"/>
              <a:gd name="connsiteX9" fmla="*/ 130442 w 6206463"/>
              <a:gd name="connsiteY9" fmla="*/ 782639 h 782639"/>
              <a:gd name="connsiteX10" fmla="*/ 38206 w 6206463"/>
              <a:gd name="connsiteY10" fmla="*/ 744433 h 782639"/>
              <a:gd name="connsiteX11" fmla="*/ 1 w 6206463"/>
              <a:gd name="connsiteY11" fmla="*/ 652197 h 782639"/>
              <a:gd name="connsiteX12" fmla="*/ 0 w 6206463"/>
              <a:gd name="connsiteY12" fmla="*/ 130442 h 782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06463" h="782639">
                <a:moveTo>
                  <a:pt x="0" y="130442"/>
                </a:moveTo>
                <a:cubicBezTo>
                  <a:pt x="0" y="95847"/>
                  <a:pt x="13743" y="62668"/>
                  <a:pt x="38206" y="38206"/>
                </a:cubicBezTo>
                <a:cubicBezTo>
                  <a:pt x="62669" y="13743"/>
                  <a:pt x="95847" y="0"/>
                  <a:pt x="130443" y="1"/>
                </a:cubicBezTo>
                <a:lnTo>
                  <a:pt x="6076021" y="0"/>
                </a:lnTo>
                <a:cubicBezTo>
                  <a:pt x="6110616" y="0"/>
                  <a:pt x="6143795" y="13743"/>
                  <a:pt x="6168257" y="38206"/>
                </a:cubicBezTo>
                <a:cubicBezTo>
                  <a:pt x="6192720" y="62669"/>
                  <a:pt x="6206463" y="95847"/>
                  <a:pt x="6206462" y="130443"/>
                </a:cubicBezTo>
                <a:cubicBezTo>
                  <a:pt x="6206462" y="304361"/>
                  <a:pt x="6206463" y="478279"/>
                  <a:pt x="6206463" y="652197"/>
                </a:cubicBezTo>
                <a:cubicBezTo>
                  <a:pt x="6206463" y="686792"/>
                  <a:pt x="6192720" y="719971"/>
                  <a:pt x="6168257" y="744433"/>
                </a:cubicBezTo>
                <a:cubicBezTo>
                  <a:pt x="6143794" y="768896"/>
                  <a:pt x="6110616" y="782639"/>
                  <a:pt x="6076021" y="782639"/>
                </a:cubicBezTo>
                <a:lnTo>
                  <a:pt x="130442" y="782639"/>
                </a:lnTo>
                <a:cubicBezTo>
                  <a:pt x="95847" y="782639"/>
                  <a:pt x="62668" y="768896"/>
                  <a:pt x="38206" y="744433"/>
                </a:cubicBezTo>
                <a:cubicBezTo>
                  <a:pt x="13743" y="719970"/>
                  <a:pt x="0" y="686792"/>
                  <a:pt x="1" y="652197"/>
                </a:cubicBezTo>
                <a:cubicBezTo>
                  <a:pt x="1" y="478279"/>
                  <a:pt x="0" y="304360"/>
                  <a:pt x="0" y="13044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0125" tIns="160125" rIns="160125" bIns="160125" spcCol="1270" anchor="ctr"/>
          <a:lstStyle/>
          <a:p>
            <a:pPr algn="ctr" defTabSz="142240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800" b="1" dirty="0">
                <a:solidFill>
                  <a:schemeClr val="tx1"/>
                </a:solidFill>
              </a:rPr>
              <a:t>Fase I-A</a:t>
            </a:r>
          </a:p>
        </p:txBody>
      </p:sp>
      <p:sp>
        <p:nvSpPr>
          <p:cNvPr id="34" name="Forma livre 33"/>
          <p:cNvSpPr/>
          <p:nvPr/>
        </p:nvSpPr>
        <p:spPr>
          <a:xfrm>
            <a:off x="301625" y="3213100"/>
            <a:ext cx="5278438" cy="501650"/>
          </a:xfrm>
          <a:custGeom>
            <a:avLst/>
            <a:gdLst>
              <a:gd name="connsiteX0" fmla="*/ 0 w 6206463"/>
              <a:gd name="connsiteY0" fmla="*/ 130442 h 782639"/>
              <a:gd name="connsiteX1" fmla="*/ 38206 w 6206463"/>
              <a:gd name="connsiteY1" fmla="*/ 38206 h 782639"/>
              <a:gd name="connsiteX2" fmla="*/ 130443 w 6206463"/>
              <a:gd name="connsiteY2" fmla="*/ 1 h 782639"/>
              <a:gd name="connsiteX3" fmla="*/ 6076021 w 6206463"/>
              <a:gd name="connsiteY3" fmla="*/ 0 h 782639"/>
              <a:gd name="connsiteX4" fmla="*/ 6168257 w 6206463"/>
              <a:gd name="connsiteY4" fmla="*/ 38206 h 782639"/>
              <a:gd name="connsiteX5" fmla="*/ 6206462 w 6206463"/>
              <a:gd name="connsiteY5" fmla="*/ 130443 h 782639"/>
              <a:gd name="connsiteX6" fmla="*/ 6206463 w 6206463"/>
              <a:gd name="connsiteY6" fmla="*/ 652197 h 782639"/>
              <a:gd name="connsiteX7" fmla="*/ 6168257 w 6206463"/>
              <a:gd name="connsiteY7" fmla="*/ 744433 h 782639"/>
              <a:gd name="connsiteX8" fmla="*/ 6076021 w 6206463"/>
              <a:gd name="connsiteY8" fmla="*/ 782639 h 782639"/>
              <a:gd name="connsiteX9" fmla="*/ 130442 w 6206463"/>
              <a:gd name="connsiteY9" fmla="*/ 782639 h 782639"/>
              <a:gd name="connsiteX10" fmla="*/ 38206 w 6206463"/>
              <a:gd name="connsiteY10" fmla="*/ 744433 h 782639"/>
              <a:gd name="connsiteX11" fmla="*/ 1 w 6206463"/>
              <a:gd name="connsiteY11" fmla="*/ 652197 h 782639"/>
              <a:gd name="connsiteX12" fmla="*/ 0 w 6206463"/>
              <a:gd name="connsiteY12" fmla="*/ 130442 h 782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06463" h="782639">
                <a:moveTo>
                  <a:pt x="0" y="130442"/>
                </a:moveTo>
                <a:cubicBezTo>
                  <a:pt x="0" y="95847"/>
                  <a:pt x="13743" y="62668"/>
                  <a:pt x="38206" y="38206"/>
                </a:cubicBezTo>
                <a:cubicBezTo>
                  <a:pt x="62669" y="13743"/>
                  <a:pt x="95847" y="0"/>
                  <a:pt x="130443" y="1"/>
                </a:cubicBezTo>
                <a:lnTo>
                  <a:pt x="6076021" y="0"/>
                </a:lnTo>
                <a:cubicBezTo>
                  <a:pt x="6110616" y="0"/>
                  <a:pt x="6143795" y="13743"/>
                  <a:pt x="6168257" y="38206"/>
                </a:cubicBezTo>
                <a:cubicBezTo>
                  <a:pt x="6192720" y="62669"/>
                  <a:pt x="6206463" y="95847"/>
                  <a:pt x="6206462" y="130443"/>
                </a:cubicBezTo>
                <a:cubicBezTo>
                  <a:pt x="6206462" y="304361"/>
                  <a:pt x="6206463" y="478279"/>
                  <a:pt x="6206463" y="652197"/>
                </a:cubicBezTo>
                <a:cubicBezTo>
                  <a:pt x="6206463" y="686792"/>
                  <a:pt x="6192720" y="719971"/>
                  <a:pt x="6168257" y="744433"/>
                </a:cubicBezTo>
                <a:cubicBezTo>
                  <a:pt x="6143794" y="768896"/>
                  <a:pt x="6110616" y="782639"/>
                  <a:pt x="6076021" y="782639"/>
                </a:cubicBezTo>
                <a:lnTo>
                  <a:pt x="130442" y="782639"/>
                </a:lnTo>
                <a:cubicBezTo>
                  <a:pt x="95847" y="782639"/>
                  <a:pt x="62668" y="768896"/>
                  <a:pt x="38206" y="744433"/>
                </a:cubicBezTo>
                <a:cubicBezTo>
                  <a:pt x="13743" y="719970"/>
                  <a:pt x="0" y="686792"/>
                  <a:pt x="1" y="652197"/>
                </a:cubicBezTo>
                <a:cubicBezTo>
                  <a:pt x="1" y="478279"/>
                  <a:pt x="0" y="304360"/>
                  <a:pt x="0" y="13044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0125" tIns="160125" rIns="160125" bIns="160125" spcCol="1270" anchor="ctr"/>
          <a:lstStyle/>
          <a:p>
            <a:pPr algn="ctr" defTabSz="142240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800" b="1" dirty="0">
                <a:solidFill>
                  <a:schemeClr val="tx1"/>
                </a:solidFill>
              </a:rPr>
              <a:t>Fase I-B</a:t>
            </a:r>
            <a:endParaRPr lang="en-US" sz="3200" b="1" dirty="0">
              <a:solidFill>
                <a:schemeClr val="tx1"/>
              </a:solidFill>
            </a:endParaRPr>
          </a:p>
        </p:txBody>
      </p:sp>
      <p:sp>
        <p:nvSpPr>
          <p:cNvPr id="36" name="Forma livre 35"/>
          <p:cNvSpPr/>
          <p:nvPr/>
        </p:nvSpPr>
        <p:spPr>
          <a:xfrm>
            <a:off x="5651500" y="2636838"/>
            <a:ext cx="3276600" cy="1077912"/>
          </a:xfrm>
          <a:custGeom>
            <a:avLst/>
            <a:gdLst>
              <a:gd name="connsiteX0" fmla="*/ 0 w 6206463"/>
              <a:gd name="connsiteY0" fmla="*/ 130442 h 782639"/>
              <a:gd name="connsiteX1" fmla="*/ 38206 w 6206463"/>
              <a:gd name="connsiteY1" fmla="*/ 38206 h 782639"/>
              <a:gd name="connsiteX2" fmla="*/ 130443 w 6206463"/>
              <a:gd name="connsiteY2" fmla="*/ 1 h 782639"/>
              <a:gd name="connsiteX3" fmla="*/ 6076021 w 6206463"/>
              <a:gd name="connsiteY3" fmla="*/ 0 h 782639"/>
              <a:gd name="connsiteX4" fmla="*/ 6168257 w 6206463"/>
              <a:gd name="connsiteY4" fmla="*/ 38206 h 782639"/>
              <a:gd name="connsiteX5" fmla="*/ 6206462 w 6206463"/>
              <a:gd name="connsiteY5" fmla="*/ 130443 h 782639"/>
              <a:gd name="connsiteX6" fmla="*/ 6206463 w 6206463"/>
              <a:gd name="connsiteY6" fmla="*/ 652197 h 782639"/>
              <a:gd name="connsiteX7" fmla="*/ 6168257 w 6206463"/>
              <a:gd name="connsiteY7" fmla="*/ 744433 h 782639"/>
              <a:gd name="connsiteX8" fmla="*/ 6076021 w 6206463"/>
              <a:gd name="connsiteY8" fmla="*/ 782639 h 782639"/>
              <a:gd name="connsiteX9" fmla="*/ 130442 w 6206463"/>
              <a:gd name="connsiteY9" fmla="*/ 782639 h 782639"/>
              <a:gd name="connsiteX10" fmla="*/ 38206 w 6206463"/>
              <a:gd name="connsiteY10" fmla="*/ 744433 h 782639"/>
              <a:gd name="connsiteX11" fmla="*/ 1 w 6206463"/>
              <a:gd name="connsiteY11" fmla="*/ 652197 h 782639"/>
              <a:gd name="connsiteX12" fmla="*/ 0 w 6206463"/>
              <a:gd name="connsiteY12" fmla="*/ 130442 h 782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06463" h="782639">
                <a:moveTo>
                  <a:pt x="0" y="130442"/>
                </a:moveTo>
                <a:cubicBezTo>
                  <a:pt x="0" y="95847"/>
                  <a:pt x="13743" y="62668"/>
                  <a:pt x="38206" y="38206"/>
                </a:cubicBezTo>
                <a:cubicBezTo>
                  <a:pt x="62669" y="13743"/>
                  <a:pt x="95847" y="0"/>
                  <a:pt x="130443" y="1"/>
                </a:cubicBezTo>
                <a:lnTo>
                  <a:pt x="6076021" y="0"/>
                </a:lnTo>
                <a:cubicBezTo>
                  <a:pt x="6110616" y="0"/>
                  <a:pt x="6143795" y="13743"/>
                  <a:pt x="6168257" y="38206"/>
                </a:cubicBezTo>
                <a:cubicBezTo>
                  <a:pt x="6192720" y="62669"/>
                  <a:pt x="6206463" y="95847"/>
                  <a:pt x="6206462" y="130443"/>
                </a:cubicBezTo>
                <a:cubicBezTo>
                  <a:pt x="6206462" y="304361"/>
                  <a:pt x="6206463" y="478279"/>
                  <a:pt x="6206463" y="652197"/>
                </a:cubicBezTo>
                <a:cubicBezTo>
                  <a:pt x="6206463" y="686792"/>
                  <a:pt x="6192720" y="719971"/>
                  <a:pt x="6168257" y="744433"/>
                </a:cubicBezTo>
                <a:cubicBezTo>
                  <a:pt x="6143794" y="768896"/>
                  <a:pt x="6110616" y="782639"/>
                  <a:pt x="6076021" y="782639"/>
                </a:cubicBezTo>
                <a:lnTo>
                  <a:pt x="130442" y="782639"/>
                </a:lnTo>
                <a:cubicBezTo>
                  <a:pt x="95847" y="782639"/>
                  <a:pt x="62668" y="768896"/>
                  <a:pt x="38206" y="744433"/>
                </a:cubicBezTo>
                <a:cubicBezTo>
                  <a:pt x="13743" y="719970"/>
                  <a:pt x="0" y="686792"/>
                  <a:pt x="1" y="652197"/>
                </a:cubicBezTo>
                <a:cubicBezTo>
                  <a:pt x="1" y="478279"/>
                  <a:pt x="0" y="304360"/>
                  <a:pt x="0" y="13044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60125" tIns="160125" rIns="160125" bIns="160125" spcCol="1270" anchor="ctr"/>
          <a:lstStyle/>
          <a:p>
            <a:pPr algn="ctr" defTabSz="1422400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2800" b="1" dirty="0">
                <a:solidFill>
                  <a:schemeClr val="tx1"/>
                </a:solidFill>
              </a:rPr>
              <a:t>Fase II</a:t>
            </a:r>
            <a:endParaRPr lang="en-US" sz="3200" b="1" dirty="0">
              <a:solidFill>
                <a:schemeClr val="tx1"/>
              </a:solidFill>
            </a:endParaRPr>
          </a:p>
        </p:txBody>
      </p:sp>
      <p:cxnSp>
        <p:nvCxnSpPr>
          <p:cNvPr id="5" name="Conector reto 4"/>
          <p:cNvCxnSpPr>
            <a:stCxn id="24" idx="10"/>
          </p:cNvCxnSpPr>
          <p:nvPr/>
        </p:nvCxnSpPr>
        <p:spPr>
          <a:xfrm flipH="1">
            <a:off x="5580063" y="2465388"/>
            <a:ext cx="20637" cy="384175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Diagrama 2"/>
          <p:cNvGraphicFramePr/>
          <p:nvPr/>
        </p:nvGraphicFramePr>
        <p:xfrm>
          <a:off x="1236663" y="4447412"/>
          <a:ext cx="3767137" cy="769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1" name="CaixaDeTexto 40"/>
          <p:cNvSpPr txBox="1"/>
          <p:nvPr/>
        </p:nvSpPr>
        <p:spPr>
          <a:xfrm>
            <a:off x="5653088" y="4552350"/>
            <a:ext cx="3333750" cy="769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200" b="1" dirty="0">
                <a:latin typeface="+mn-lt"/>
              </a:rPr>
              <a:t>Operação até o final da concessão</a:t>
            </a:r>
            <a:endParaRPr lang="en-US" sz="2200" b="1" dirty="0">
              <a:latin typeface="+mn-lt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339975" y="0"/>
            <a:ext cx="6804025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Fases da Concessão</a:t>
            </a:r>
            <a:endParaRPr lang="en-US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13" name="Estrela de 32 pontas 12"/>
          <p:cNvSpPr/>
          <p:nvPr/>
        </p:nvSpPr>
        <p:spPr>
          <a:xfrm>
            <a:off x="2990850" y="2679700"/>
            <a:ext cx="847725" cy="355600"/>
          </a:xfrm>
          <a:prstGeom prst="star32">
            <a:avLst/>
          </a:prstGeom>
          <a:solidFill>
            <a:schemeClr val="accent1">
              <a:lumMod val="5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" tIns="3600" rIns="3600" bIns="3600" anchor="ctr">
            <a:spAutoFit/>
          </a:bodyPr>
          <a:lstStyle/>
          <a:p>
            <a:pPr algn="ctr">
              <a:defRPr/>
            </a:pPr>
            <a:r>
              <a:rPr lang="pt-BR" sz="1600" b="1" dirty="0">
                <a:solidFill>
                  <a:schemeClr val="bg1"/>
                </a:solidFill>
              </a:rPr>
              <a:t>≈ 7m</a:t>
            </a:r>
          </a:p>
        </p:txBody>
      </p:sp>
      <p:sp>
        <p:nvSpPr>
          <p:cNvPr id="14" name="Estrela de 32 pontas 13"/>
          <p:cNvSpPr/>
          <p:nvPr/>
        </p:nvSpPr>
        <p:spPr>
          <a:xfrm>
            <a:off x="3905250" y="3311525"/>
            <a:ext cx="1651000" cy="304800"/>
          </a:xfrm>
          <a:prstGeom prst="star32">
            <a:avLst/>
          </a:prstGeom>
          <a:solidFill>
            <a:schemeClr val="accent1">
              <a:lumMod val="5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" tIns="3600" rIns="3600" bIns="3600" anchor="ctr">
            <a:spAutoFit/>
          </a:bodyPr>
          <a:lstStyle/>
          <a:p>
            <a:pPr algn="ctr">
              <a:defRPr/>
            </a:pPr>
            <a:r>
              <a:rPr lang="pt-BR" sz="1600" b="1" dirty="0" err="1">
                <a:solidFill>
                  <a:schemeClr val="bg1"/>
                </a:solidFill>
              </a:rPr>
              <a:t>Abr</a:t>
            </a:r>
            <a:r>
              <a:rPr lang="pt-BR" sz="1600" b="1" dirty="0">
                <a:solidFill>
                  <a:schemeClr val="bg1"/>
                </a:solidFill>
              </a:rPr>
              <a:t>/2016</a:t>
            </a:r>
          </a:p>
        </p:txBody>
      </p:sp>
      <p:sp>
        <p:nvSpPr>
          <p:cNvPr id="52238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C037555-E85D-43B9-9887-B5DFD4F031A7}" type="slidenum">
              <a:rPr lang="en-US" smtClean="0">
                <a:ea typeface="MS PGothic" pitchFamily="34" charset="-128"/>
              </a:rPr>
              <a:pPr/>
              <a:t>11</a:t>
            </a:fld>
            <a:endParaRPr lang="en-US" smtClean="0">
              <a:ea typeface="MS PGothic" pitchFamily="34" charset="-128"/>
            </a:endParaRPr>
          </a:p>
        </p:txBody>
      </p:sp>
      <p:graphicFrame>
        <p:nvGraphicFramePr>
          <p:cNvPr id="16" name="Diagrama 15"/>
          <p:cNvGraphicFramePr/>
          <p:nvPr/>
        </p:nvGraphicFramePr>
        <p:xfrm>
          <a:off x="247649" y="5803106"/>
          <a:ext cx="8076953" cy="858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3"/>
          <p:cNvGrpSpPr/>
          <p:nvPr/>
        </p:nvGrpSpPr>
        <p:grpSpPr>
          <a:xfrm>
            <a:off x="7548078" y="1354159"/>
            <a:ext cx="1404683" cy="1288376"/>
            <a:chOff x="3623470" y="1804083"/>
            <a:chExt cx="1404683" cy="1288376"/>
          </a:xfrm>
          <a:solidFill>
            <a:schemeClr val="accent1">
              <a:lumMod val="5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" name="Elipse 14"/>
            <p:cNvSpPr/>
            <p:nvPr/>
          </p:nvSpPr>
          <p:spPr>
            <a:xfrm>
              <a:off x="3623470" y="1804083"/>
              <a:ext cx="1404683" cy="1288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Elipse 4"/>
            <p:cNvSpPr/>
            <p:nvPr/>
          </p:nvSpPr>
          <p:spPr>
            <a:xfrm>
              <a:off x="3829181" y="1992761"/>
              <a:ext cx="993261" cy="9110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510" tIns="16510" rIns="16510" bIns="16510" spcCol="1270"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300" dirty="0"/>
                <a:t>Plano de Contingências para Situações Excepcionais (PCSE)</a:t>
              </a:r>
            </a:p>
          </p:txBody>
        </p:sp>
      </p:grpSp>
      <p:grpSp>
        <p:nvGrpSpPr>
          <p:cNvPr id="3" name="Grupo 17"/>
          <p:cNvGrpSpPr/>
          <p:nvPr/>
        </p:nvGrpSpPr>
        <p:grpSpPr>
          <a:xfrm>
            <a:off x="7548078" y="3183856"/>
            <a:ext cx="1404683" cy="1288376"/>
            <a:chOff x="3623470" y="1804083"/>
            <a:chExt cx="1404683" cy="1288376"/>
          </a:xfrm>
          <a:solidFill>
            <a:schemeClr val="accent1">
              <a:lumMod val="5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0" name="Elipse 19"/>
            <p:cNvSpPr/>
            <p:nvPr/>
          </p:nvSpPr>
          <p:spPr>
            <a:xfrm>
              <a:off x="3623470" y="1804083"/>
              <a:ext cx="1404683" cy="128837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Elipse 4"/>
            <p:cNvSpPr/>
            <p:nvPr/>
          </p:nvSpPr>
          <p:spPr>
            <a:xfrm>
              <a:off x="3829181" y="1992761"/>
              <a:ext cx="993261" cy="9110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510" tIns="16510" rIns="16510" bIns="16510" spcCol="1270"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300" dirty="0"/>
                <a:t>Plano de Eventos Especiais</a:t>
              </a:r>
            </a:p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300" dirty="0"/>
                <a:t>(PEE)</a:t>
              </a:r>
            </a:p>
          </p:txBody>
        </p:sp>
      </p:grpSp>
      <p:sp>
        <p:nvSpPr>
          <p:cNvPr id="23" name="Cruz 22"/>
          <p:cNvSpPr/>
          <p:nvPr/>
        </p:nvSpPr>
        <p:spPr>
          <a:xfrm>
            <a:off x="8072438" y="2711450"/>
            <a:ext cx="392112" cy="393700"/>
          </a:xfrm>
          <a:prstGeom prst="plus">
            <a:avLst>
              <a:gd name="adj" fmla="val 35798"/>
            </a:avLst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55301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xfrm>
            <a:off x="7886700" y="6445250"/>
            <a:ext cx="108585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3886A4E-142D-42E0-AA30-FC5EF19697E1}" type="slidenum">
              <a:rPr lang="en-US" smtClean="0">
                <a:ea typeface="MS PGothic" pitchFamily="34" charset="-128"/>
              </a:rPr>
              <a:pPr/>
              <a:t>12</a:t>
            </a:fld>
            <a:endParaRPr lang="en-US" smtClean="0">
              <a:ea typeface="MS PGothic" pitchFamily="34" charset="-128"/>
            </a:endParaRPr>
          </a:p>
        </p:txBody>
      </p:sp>
      <p:grpSp>
        <p:nvGrpSpPr>
          <p:cNvPr id="4" name="Grupo 17"/>
          <p:cNvGrpSpPr/>
          <p:nvPr/>
        </p:nvGrpSpPr>
        <p:grpSpPr>
          <a:xfrm>
            <a:off x="7546103" y="5081881"/>
            <a:ext cx="1404683" cy="1288376"/>
            <a:chOff x="3623470" y="1804083"/>
            <a:chExt cx="1404683" cy="1288376"/>
          </a:xfrm>
          <a:solidFill>
            <a:schemeClr val="accent1">
              <a:lumMod val="5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4" name="Elipse 13"/>
            <p:cNvSpPr/>
            <p:nvPr/>
          </p:nvSpPr>
          <p:spPr>
            <a:xfrm>
              <a:off x="3623470" y="1804083"/>
              <a:ext cx="1404683" cy="128837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Elipse 4"/>
            <p:cNvSpPr/>
            <p:nvPr/>
          </p:nvSpPr>
          <p:spPr>
            <a:xfrm>
              <a:off x="3829181" y="1992761"/>
              <a:ext cx="993261" cy="9110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510" tIns="16510" rIns="16510" bIns="16510" spcCol="1270"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300" dirty="0"/>
                <a:t>Plano de Ação Imediata (PAI)</a:t>
              </a:r>
            </a:p>
          </p:txBody>
        </p:sp>
      </p:grpSp>
      <p:sp>
        <p:nvSpPr>
          <p:cNvPr id="22" name="Cruz 21"/>
          <p:cNvSpPr/>
          <p:nvPr/>
        </p:nvSpPr>
        <p:spPr>
          <a:xfrm>
            <a:off x="8081963" y="4573588"/>
            <a:ext cx="393700" cy="393700"/>
          </a:xfrm>
          <a:prstGeom prst="plus">
            <a:avLst>
              <a:gd name="adj" fmla="val 35798"/>
            </a:avLst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111125" y="1320800"/>
            <a:ext cx="5264150" cy="4619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Plano de Gestão da Infraestrutura (PGI) </a:t>
            </a:r>
            <a:endParaRPr lang="pt-BR" sz="2400" b="1" dirty="0">
              <a:solidFill>
                <a:schemeClr val="accent1">
                  <a:lumMod val="75000"/>
                </a:schemeClr>
              </a:solidFill>
              <a:latin typeface="Arial" charset="0"/>
            </a:endParaRPr>
          </a:p>
        </p:txBody>
      </p:sp>
      <p:graphicFrame>
        <p:nvGraphicFramePr>
          <p:cNvPr id="24" name="Diagrama 23"/>
          <p:cNvGraphicFramePr/>
          <p:nvPr/>
        </p:nvGraphicFramePr>
        <p:xfrm>
          <a:off x="360218" y="1881390"/>
          <a:ext cx="6610598" cy="1811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5" name="Retângulo 24"/>
          <p:cNvSpPr/>
          <p:nvPr/>
        </p:nvSpPr>
        <p:spPr>
          <a:xfrm>
            <a:off x="155575" y="4002088"/>
            <a:ext cx="5041900" cy="4619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Plano de Qualidade de Serviços (PQS) </a:t>
            </a:r>
            <a:endParaRPr lang="pt-BR" sz="2400" b="1" dirty="0">
              <a:solidFill>
                <a:schemeClr val="accent1">
                  <a:lumMod val="75000"/>
                </a:schemeClr>
              </a:solidFill>
              <a:latin typeface="Arial" charset="0"/>
            </a:endParaRPr>
          </a:p>
        </p:txBody>
      </p:sp>
      <p:graphicFrame>
        <p:nvGraphicFramePr>
          <p:cNvPr id="26" name="Diagrama 25"/>
          <p:cNvGraphicFramePr/>
          <p:nvPr/>
        </p:nvGraphicFramePr>
        <p:xfrm>
          <a:off x="63335" y="4536373"/>
          <a:ext cx="6954982" cy="19577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7" name="Title 1"/>
          <p:cNvSpPr txBox="1">
            <a:spLocks/>
          </p:cNvSpPr>
          <p:nvPr/>
        </p:nvSpPr>
        <p:spPr>
          <a:xfrm>
            <a:off x="2339975" y="23750"/>
            <a:ext cx="6804025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lano </a:t>
            </a:r>
            <a: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de Exploração Aeroportuária</a:t>
            </a:r>
            <a:endParaRPr lang="en-US" sz="3400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Diagrama 11"/>
          <p:cNvGraphicFramePr/>
          <p:nvPr/>
        </p:nvGraphicFramePr>
        <p:xfrm>
          <a:off x="395536" y="1268760"/>
          <a:ext cx="8572990" cy="5092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itle 1"/>
          <p:cNvSpPr txBox="1">
            <a:spLocks/>
          </p:cNvSpPr>
          <p:nvPr/>
        </p:nvSpPr>
        <p:spPr>
          <a:xfrm>
            <a:off x="2339975" y="23750"/>
            <a:ext cx="6804025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rincipais </a:t>
            </a:r>
            <a: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investimentos </a:t>
            </a:r>
            <a:r>
              <a:rPr lang="pt-BR" sz="34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obrigatórios</a:t>
            </a:r>
          </a:p>
        </p:txBody>
      </p:sp>
      <p:sp>
        <p:nvSpPr>
          <p:cNvPr id="2053" name="Espaço Reservado para Número de Slide 12"/>
          <p:cNvSpPr txBox="1">
            <a:spLocks/>
          </p:cNvSpPr>
          <p:nvPr/>
        </p:nvSpPr>
        <p:spPr bwMode="auto">
          <a:xfrm>
            <a:off x="7600950" y="6480175"/>
            <a:ext cx="10858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E0C1B04F-D13F-4396-8EB9-2BF384B4787D}" type="slidenum">
              <a:rPr lang="en-US" sz="1400">
                <a:solidFill>
                  <a:schemeClr val="bg1"/>
                </a:solidFill>
                <a:latin typeface="Calibri" pitchFamily="34" charset="0"/>
              </a:rPr>
              <a:pPr algn="r"/>
              <a:t>13</a:t>
            </a:fld>
            <a:endParaRPr lang="en-US" sz="140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 descr="C:\Users\leejesoo\AppData\Local\Microsoft\Windows\Temporary Internet Files\Content.Outlook\DQBO49GL\GIG-Image 3 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016000"/>
            <a:ext cx="9144000" cy="514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2339975" y="0"/>
            <a:ext cx="6804025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rojeto 3D</a:t>
            </a:r>
          </a:p>
          <a:p>
            <a:pPr algn="r" eaLnBrk="0" hangingPunct="0">
              <a:defRPr/>
            </a:pPr>
            <a:r>
              <a:rPr lang="pt-BR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Galeão</a:t>
            </a:r>
            <a:endParaRPr lang="en-US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60420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5C11A1-7DDD-409C-9085-316318427A61}" type="slidenum">
              <a:rPr lang="en-US" smtClean="0">
                <a:ea typeface="MS PGothic" pitchFamily="34" charset="-128"/>
              </a:rPr>
              <a:pPr/>
              <a:t>14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2" name="Picture 2" descr="C:\Users\leejesoo\AppData\Local\Microsoft\Windows\Temporary Internet Files\Content.Outlook\DQBO49GL\CNF-Image 1 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981075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2339975" y="0"/>
            <a:ext cx="6804025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rojeto 3D</a:t>
            </a:r>
          </a:p>
          <a:p>
            <a:pPr algn="r" eaLnBrk="0" hangingPunct="0">
              <a:defRPr/>
            </a:pPr>
            <a:r>
              <a:rPr lang="pt-BR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Confins</a:t>
            </a:r>
            <a:endParaRPr lang="en-US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61444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0112A52-E464-40A5-A06B-3A82038B2E76}" type="slidenum">
              <a:rPr lang="en-US" smtClean="0">
                <a:ea typeface="MS PGothic" pitchFamily="34" charset="-128"/>
              </a:rPr>
              <a:pPr/>
              <a:t>15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AutoShape 2" descr="data:image/jpeg;base64,/9j/4AAQSkZJRgABAQAAAQABAAD/2wCEAAkGBhQQEA8UEBQUEBIUFRUUDxAUFBAUFBIVFRAVFxQQFBQXGyYeFxkjGRUUHy8gIycpLCwsFR4xNTAqNSYsLCkBCQoKDgwOFw8PGCklHyQsKSwpKiwpLCwpLCwpLCkpKSksKSwpKSksLCkpLCkpKSkpKSwsLCksKSwuKSksKSwsKf/AABEIAOEA4QMBIgACEQEDEQH/xAAcAAEAAgIDAQAAAAAAAAAAAAAAAQcFBgIECAP/xABHEAACAQMABgQICgkCBwAAAAAAAQIDBBEFBgcSITFBUWGREyIyUnGBocEUFiNCVJKx0eHwM1NicoKissLxF3M0Q4OTs9LT/8QAGwEBAAIDAQEAAAAAAAAAAAAAAAEEAgMFBgf/xAArEQEAAgIBAwIFBAMBAAAAAAAAAQIDEQQSITFBUQUTFCIyIzNSYQYWkRX/2gAMAwEAAhEDEQA/ALxAAAAAAAAAAAAAAAAAAAAAAAAAAAAAAAAAAAAAAAAAAAAAAAAAAAAAAAAAAAEZGQJBGRkCQQMgSCCQAAAAAAAAAAAAAAAAAAAAAACGyN4DkccHUvtK06EXKrNQj1trj6Osr/T21xJuNpDef6yakl6o8GYzaIaMmemPzKyKlVRTbaS6zX9J6/WlDO9VU2ucYYm/WugqC90xd3r8aVSqvNgm0uxJcT6WepV5W8ijJdW/iH9WDCbz6Qo25t7ft1bpf7YYrKo0XJdEpPH8uPeYS42s3b8hU4Ltg3/cjrU9l98+cIr/AKlN/ZImpsuvV5MIy/jpr7ZET1q9r8q3pP8Ax8qm0q9fz4r0Rkv7jjDaRe/rF3P7zr3uol5S4zot/uOM33RbMLcWc6bxUhKm+qUXF+1GG7K1r56+dtwt9rN3FrfVKS6lFp9+8Z/R+2Cm2lXpSprplF73r3cLgVWgn1DrmE15mWvq9DaJ1noXSTo1Iyfm5xLuMnk800a0oNOLcWuOUb/qptPnTcad2/CRfCNXD3l+9zWMeg2Rk26ODn1tOr9ltIk69pdxqQjKElKL5Ncj7pm104naQAEgAAAAAAAAAAAAAQMnXvL2FKLlUkoxXNsImdd31nUSWXw7WaTrPtHhRcqdsvD1eTay4x+/1HUvL660rJwtt63tc4nWeVKeOeMceb5dhsWgNSLezS3IKU1zqSScs9afQR58K1rXydqdo92g0NT7/SUlUupunB8t5rl+zBNpetG36I2X2tFLfTrS65PHsXA2+Mf8nIiKwU4tInc95dW20bTp+RCMfRGK+w7SRJGDJZiIjwjAwcgEuDR077Q9KsmqsIzXaln1Pmd8hhjNYnyrjWPZTCSc7R7kuinLyX6Jc/aVnfWE6FSVOrFwlHmn9qZ6Swa3rjqnC+pPgvCxTdKeOOceS+x4NVqbc7k8Kto6qdpUQwfe8tZUpzhNNSi3F57Ok+BpcKe3ZuOoOubtKkadVt0JvHHPybzz9vsLoo1FJJrinyPM2eWPz1YLn2Yaf+EW3g5vM6XDPS4vk/tN2O3o7PA5Ez9lm7ZBBJtdcAAAAAACMgSCMgCSGScJvuA697exowlObxFc37l1s1uOiamkJqpdpwt080rbjmWPn1Pux0LiZpWTrVFOr5Mf0dPo/el1syUY4Ia5r1eXGhRjCKUUopLCSWEl1H0QQbJbDBJwUxKolz4LpYHJsg1PT206xtMqVWNSa+ZTe96t6OUjSb/b7n9Bb47akk0/UkjbXFe3iBceSMlEy283eeFKhjq3an/sd6x2+TT+Wt4yXT4OW6/5smX0+T2TpdJJpWr+1iyu2o7/AIGo+VOfDm8Y3mksm5qafLj3Gm1Zr2lDlg4tE5IZAqTa3oZU6tOvFJKp4ssLHjJc36kV8y5tq9upWW8/myTXr4e8pnJXvGped5uPpyzpOTb9l+kPB30YdFSLTXRw4x+1mn5MtqlVcb60x01acfrVIpkV7S0YJmuSJehkcjhFnIsvUQkENhMJSAAIbKn2161VrWdrC3qSptqo6m70/o93+4tds887aL7wmk5Rz4tOEF/Fjib+PXqv3GCevl99Iqd/4EfH2++kT70YDAOp8uvsybB8fb76RPvIlr7ffSKnoz+BgAPl19hn/j5ffSamerP54k/H2++kT7zXwOivsNg+P199In3ozOp2td7c39pSlXm4zqJT48MYeWzRjaNnekqdrduvWfi0qU5xj0ympRSiu3i+4wyUjpnUD0JrDrNRsaTqXEt3ojFeVJ9UUUTrhtRub5uEJOhQ6IQeHLjznLyulcmYLWnWqtpGtKrWlwT+Tpp8IRfQvvxx9RhjVh48V7z5NJk2288X054+18SAzkoPOEsvq4lvwlxD7fYdqjourPLjTm+vhJe4+FWhKPlRcfTF+8jcDs6Gp71xbJc3Vp45frI59mS3ts+sVe0nZwt6kqacJuW7j5soJfaVjqTQ39IWkel1E+S6E37jb9u1fevqUfMpv+bcfuK14icsQhqfx9vvpE+8fH2++k1O8wBJv6K+wtDZfpavpC8lSuqkq1JQ3pQlxT44XtwWz8TbT9TDuKo2B0M3d1LqopL0uoi8Tl8iI65012x1tO5hhfibafqYdxitadA29tZ3VWnTjCpClUlSmlxjUVOTg1/EkbealtTuNzRd0+tbv1sr3mmsR1QxjFSPRRHx9vvpNTHpHx9vvpE+/wDAwBB2Yx19m7TYFr5ffSKnHmso9N6Mz4KnvPMscW+k8mWFDwlWnDzpKPeeuaPJegpcuIjWkS5gAo7Q4t4TZ5h14VStpC8nuSadWaj4r8lSeD09g4fBIeZH6qN2LJ8ud6S8juxqeZP6rONW1nHG9GSy+DcWvUeuvgkPMj9WP3FR7ea0Y07WlFRi3J1HhJPG7KPR6i5j5M3trSdqcAQaLqUwg20ksvqR9/gFTzJ/VZtuyTRSr6TpbyzGnvTfTxSW6eiVaQ8yH1Y/cVMvI+XOmLyQ7Cp5ku59Z8PyvV2np3XzScLKwuKqhDexuwW6uLk0sd2X6jzFnn+fSZ4cs5O8wkX5+4nP+fzyIMnq3oOV7dUaFPnN+M+jdSzKXcmb5nUbGU1J1DraSqeJ4lBPFSs14uceTHob9ZeWrmzezs4x3KSqTX/MqeNLK6U+gzOhNCwtKNOlRSjGKS4dLxxk+0yKRysue15/pG3GNFLgkuzgdPSWgqNxFxrUoVFj5yXT2mQIwaNzCFbW+yeFrpO2ubV/IxlJ1aUnxjmlNJxfVlrhgr3bNX3tLVV0KnSS9Pg1k9EuJ5l2l19/Sl2/2931xbWPYW+NM2vuUw1clEA6TJcmwGhwu59qjns4MuEq/YLQxZ3D663B9m4i0Dj55/UljIaBtrr7uiprzqlP2SN+yVht4uMWdCPnVHw/dUX7zHFG7wiFFfn2ANg7TNmNT6HhNIWUPOrQXrbPVdNcEeY9mdDf0rZ/s1Iz7ml7z05E5vLn7ohjKcAZBRQkAGQFA7cr7fv6cFyp0kmu1ycvsZfx5j2nXXhNK3kujego9mKFNY78lrix9+0w1YkhEnUZLe2BaP8AGuqrXRGMH2pve+1FyorvYdabmjZSfOdabXo3YYLFONmnd5YSqnb5etW1tSTxmpvvtShUWO9lIZ/D3lxbfo/8I+jiv6/uKdz+fSdDi/tsoC1dg2jVKvdVWs7sVGD6nlZ9jKqLe2BXi3run04jPHpaXuJ5G4xySuZEkRJOSxAABxk+DPKmuFXf0hfN/Sa6Xqrzweqa68WS600u48oazxxe3qfRcV+9V5lziflKYY4fgQDpMnofYtb7ujIS8+Upd0pR9xvxV2xDWCM7WVs3ipSbaj1wbzletss442b852wTkp/b/cZjZQzylUk/XGK9xbdWsoptvCXlPq4ZyzzltQ1qV/eydN5pUluU3z3msty9qNnGrM32mGnkAHVS3rYzb7+lIfs05z+rOn956KRSOwXRjlcXNbohDwcX+/LL/oLuTOVyp3dEpABUQAAyA8m6yV9+7uZPpqS9jx7j1izyLpR5r3H+7U/8ki5xPylMOsQCTpMnpTZPSxoq1/aW93/4NwNT2Xzzoqy7KePabYcTJ+UsFa7dNGOpYU6kV+iqqU3+zuTj/VJFCfn8D1pp7RUbq3rUZ+TUi160017UeVtKaNnbVqlKpwnB7ss8MuOVvLsZe4l9x0ph1DYNR9ZHYXlOr818Ky5Zg8re9T6DAEY/D0ly1eqNJeu7G/jWpwqU2pQmk4tdqOxvHmnUraPX0c91Yq0G8ypSTyutwaa4+ntLa0VtjsKsVvzlRl5k4yb9corBycmC1J/pGm+5GTU7naho+Cy7hPqxCbz3I0vWXbnFJxsqe82n8rUT3fTGOU8+kxrivae0Gm963a5U7JU4ZTrVZ04U6ecPEqkU5PsSb7ik9rWh/g+k6rXk1flIvrk8OftkzoavXlS80nbSrSdWUqibzjHDMsY7MFzbVtUHfWrlTWa1HMoY+dF8ZR9mfUWax8m8RI86j8TlODTaaw08ST6HnkyDoMnZ0dpKpbVI1KMnTnHlJe1Fg2O3O6hBKpTp1WlhSw03jpfHiVoMGu+Ot/MIbXrPtKu7+LhUkqdPzKacU/3uPE1T8/5CBlWla+AJjFvgubax188Efn7y0dkmz+VWrC6uI/JQ40YvhvzzhNrzUt4xyZIpG0rI2a6s/AbGnGSxUn49RdKb47r9GTa8ERRyONa3VO2AACAAAEM8l6xWzp3VzF8/Cyz63vL7UetGVBrfsxhWvK1V1ZQ8I01FRT5QjHr60T9Zj4kTfJ4bMdJvOoU0SvyyzP8ASan+vn9RfeT/AKS0/wBfP6i+81/7Fwv5LH0t/Zvuxu8VTRdJL5kpQa9CT95vRpGzXQkbGlUpKbmnNzWVjDaWensRuxGPkU5EdeOeytes1nUokistrOz13UfhNtH5aC+Uj0zj2dv3ss7BEkb6Xmk7hg8etNNp8JLhh8Mfssgv3XrZLTvHKrbYpVnzj8yf3PtKW05q1cWU924pyp9Un5L49DOrizVuyYsEtYIN3lIGMf4PvaWM60lGnBzk+UY8WyJmI8jZNltDf0tZrozNv1UamD0vjJUWy3ZrcW1eF1cpU8J7tPL3uMZLisdTLeOXyLRa/ZjKqdpOyjw8p3Fkl4V5dSjnCk+e9Ht58M44lL3dpOlJxqRcJLg1JNNtdK6z1/gwmsOp1rfLFxSjJ+esKfo3sZJxcmadpNvK3sBdek9g1JtuhXlTXRCUVLH8TZiVsFrN/p4Y68e4uRycc+qdqq9r6EfS2t5VJbsIuUnyjFN8S59G7BKUWnXrzqLphGKj/Mmb5q9qZa2KXgKSjLz3hz+tzNd+VWPBtWGoWx6U3CvfrcjzjQzxeHwc8cEvQy57e3jCMYwSjGKxFLoPrujBQvktedyjYiQDBAAAAAAiSMHrBbZSkujg/QZxnxuaKnFp8mUudx/qMFqNmK/RaJaWD7XNu4TcX6j4nzLJS2O01tD0FbRaNw+9nceDmpd/oNvo1VKKa6TSTK6I0puPdl5PR2HoPgnxCMNvlX8So8vDNo6obLkM4wnnijme5iYmNw5Ljunyr2sakXGcVKL5xfFP0o+4JGnaQ2UaPrNv4PGk3zdJQh6+T4mL/wBC7Dzrj/uw/wDmWKDOMlo9RpFjse0fSeXTdX/dcJ/2o2nRuhKNtHdt6UKMeqEUkd4ETaZ8yOO6MHIhmIZIlI+de4UFmTSRj41ZV3wzGn0vpZWyZ4rPTXvLOK77u1GpvvEeXzn1+hnaSONKmopJcj6GzHWdbt5YzKEgSDagAAAAAAAAAAAjBIAxmltG+EWV5SNZnBp4fB9RvGDGaS0QqnFcJfaea+LfCfnfqYvPt7r3G5PR9tvDWBk+te2lB4ksdvQfLJ4q+O2O2rQ60Wi0bh37DS8qTw+MTYbbSMKi4P1GnpnKEsPK4dqZ2OH8Zy8eOm3eFXLxK37x5bwmDVKGmKkeneR3aesnnRx6H+B6XF8c4147zpQtxMlfRngYhaxw6U+4PWSHVLuLf/p8bW+tq+Rk9mXGTBVNZF82Pe8e46lbTlSXLxexZbK+T41xq/jO5Zxxck+jZKldR5vBi7rTy5U05P2GOpWNWs/GzjrbfsM1ZaJjT6N5+c+ZrryOVy51jr01958sppjx+Z3Lp22jp1XvVuXmdBmadNJJLkcsBHU4/Grij3n3V73mycAAtMAAAAAAAAAAAAAAAAAhokAfCvaxmsSWTEXWr3TB47DPDBS5HAw8j86tlMtqeJafW0ZUjzi36Fk6zg1zTXpN43T5yoRfNLuOFl/x2k96WXK820eYaUQbk7GD+au4lWcF81dxW/1y/wDJs+uj2abGDfJN+g7NPR1SXKLXp4G2RoJckl6jnulnH/jtI/OzXPOt6Q1631dk/LeOz8TKWuiIU+jL62d7BODr8f4Xx8Pete6tfPe3mXBRxyOROAdKI12hoAASAAAAAAAAAAAAAAAAAAAAAAAABBIAgEgCCQ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>
              <a:latin typeface="Georgia" pitchFamily="18" charset="0"/>
            </a:endParaRPr>
          </a:p>
        </p:txBody>
      </p:sp>
      <p:sp>
        <p:nvSpPr>
          <p:cNvPr id="14" name="Título 1"/>
          <p:cNvSpPr txBox="1">
            <a:spLocks/>
          </p:cNvSpPr>
          <p:nvPr/>
        </p:nvSpPr>
        <p:spPr>
          <a:xfrm>
            <a:off x="-71438" y="696913"/>
            <a:ext cx="9144001" cy="1066800"/>
          </a:xfrm>
          <a:prstGeom prst="rect">
            <a:avLst/>
          </a:prstGeom>
        </p:spPr>
        <p:txBody>
          <a:bodyPr anchor="ctr"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Calibri" charset="0"/>
              </a:rPr>
              <a:t>GALEÃO e CONFINS</a:t>
            </a:r>
            <a:endParaRPr lang="pt-BR" sz="2400" b="1" dirty="0" smtClean="0">
              <a:solidFill>
                <a:schemeClr val="tx2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Calibri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398713" y="0"/>
            <a:ext cx="6486525" cy="1077913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BR" altLang="ko-KR" sz="3200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+mj-ea"/>
              </a:rPr>
              <a:t>Novas concessões - Cronograma</a:t>
            </a:r>
            <a:endParaRPr lang="en-US" altLang="ko-KR" sz="2200" b="0" dirty="0" smtClean="0">
              <a:solidFill>
                <a:schemeClr val="tx1">
                  <a:lumMod val="50000"/>
                  <a:lumOff val="50000"/>
                </a:schemeClr>
              </a:solidFill>
              <a:ea typeface="+mj-ea"/>
            </a:endParaRPr>
          </a:p>
        </p:txBody>
      </p:sp>
      <p:grpSp>
        <p:nvGrpSpPr>
          <p:cNvPr id="59397" name="Group 3"/>
          <p:cNvGrpSpPr>
            <a:grpSpLocks/>
          </p:cNvGrpSpPr>
          <p:nvPr/>
        </p:nvGrpSpPr>
        <p:grpSpPr bwMode="auto">
          <a:xfrm>
            <a:off x="6413500" y="3221038"/>
            <a:ext cx="873125" cy="2127250"/>
            <a:chOff x="0" y="0"/>
            <a:chExt cx="624" cy="1504"/>
          </a:xfrm>
        </p:grpSpPr>
        <p:sp>
          <p:nvSpPr>
            <p:cNvPr id="59421" name="Rectangle 1"/>
            <p:cNvSpPr>
              <a:spLocks/>
            </p:cNvSpPr>
            <p:nvPr/>
          </p:nvSpPr>
          <p:spPr bwMode="auto">
            <a:xfrm>
              <a:off x="0" y="1008"/>
              <a:ext cx="624" cy="496"/>
            </a:xfrm>
            <a:prstGeom prst="rect">
              <a:avLst/>
            </a:prstGeom>
            <a:solidFill>
              <a:srgbClr val="58C3E8"/>
            </a:soli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  <p:sp>
          <p:nvSpPr>
            <p:cNvPr id="59422" name="Rectangle 2"/>
            <p:cNvSpPr>
              <a:spLocks/>
            </p:cNvSpPr>
            <p:nvPr/>
          </p:nvSpPr>
          <p:spPr bwMode="auto">
            <a:xfrm>
              <a:off x="0" y="0"/>
              <a:ext cx="624" cy="984"/>
            </a:xfrm>
            <a:prstGeom prst="rect">
              <a:avLst/>
            </a:prstGeom>
            <a:gradFill rotWithShape="0">
              <a:gsLst>
                <a:gs pos="0">
                  <a:srgbClr val="58C3E8">
                    <a:alpha val="0"/>
                  </a:srgbClr>
                </a:gs>
                <a:gs pos="100000">
                  <a:srgbClr val="58C3E8"/>
                </a:gs>
              </a:gsLst>
              <a:lin ang="5400000" scaled="1"/>
            </a:gra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</p:grpSp>
      <p:grpSp>
        <p:nvGrpSpPr>
          <p:cNvPr id="59398" name="Group 3"/>
          <p:cNvGrpSpPr>
            <a:grpSpLocks/>
          </p:cNvGrpSpPr>
          <p:nvPr/>
        </p:nvGrpSpPr>
        <p:grpSpPr bwMode="auto">
          <a:xfrm>
            <a:off x="5405438" y="3221038"/>
            <a:ext cx="882650" cy="2127250"/>
            <a:chOff x="0" y="0"/>
            <a:chExt cx="624" cy="1504"/>
          </a:xfrm>
        </p:grpSpPr>
        <p:sp>
          <p:nvSpPr>
            <p:cNvPr id="59419" name="Rectangle 1"/>
            <p:cNvSpPr>
              <a:spLocks/>
            </p:cNvSpPr>
            <p:nvPr/>
          </p:nvSpPr>
          <p:spPr bwMode="auto">
            <a:xfrm>
              <a:off x="0" y="1008"/>
              <a:ext cx="624" cy="496"/>
            </a:xfrm>
            <a:prstGeom prst="rect">
              <a:avLst/>
            </a:prstGeom>
            <a:solidFill>
              <a:srgbClr val="58C3E8"/>
            </a:soli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  <p:sp>
          <p:nvSpPr>
            <p:cNvPr id="59420" name="Rectangle 2"/>
            <p:cNvSpPr>
              <a:spLocks/>
            </p:cNvSpPr>
            <p:nvPr/>
          </p:nvSpPr>
          <p:spPr bwMode="auto">
            <a:xfrm>
              <a:off x="0" y="0"/>
              <a:ext cx="624" cy="984"/>
            </a:xfrm>
            <a:prstGeom prst="rect">
              <a:avLst/>
            </a:prstGeom>
            <a:gradFill rotWithShape="0">
              <a:gsLst>
                <a:gs pos="0">
                  <a:srgbClr val="58C3E8">
                    <a:alpha val="0"/>
                  </a:srgbClr>
                </a:gs>
                <a:gs pos="100000">
                  <a:srgbClr val="58C3E8"/>
                </a:gs>
              </a:gsLst>
              <a:lin ang="5400000" scaled="1"/>
            </a:gra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</p:grpSp>
      <p:grpSp>
        <p:nvGrpSpPr>
          <p:cNvPr id="59399" name="Group 3"/>
          <p:cNvGrpSpPr>
            <a:grpSpLocks/>
          </p:cNvGrpSpPr>
          <p:nvPr/>
        </p:nvGrpSpPr>
        <p:grpSpPr bwMode="auto">
          <a:xfrm>
            <a:off x="1843088" y="3221038"/>
            <a:ext cx="882650" cy="2127250"/>
            <a:chOff x="0" y="0"/>
            <a:chExt cx="624" cy="1504"/>
          </a:xfrm>
        </p:grpSpPr>
        <p:sp>
          <p:nvSpPr>
            <p:cNvPr id="59417" name="Rectangle 1"/>
            <p:cNvSpPr>
              <a:spLocks/>
            </p:cNvSpPr>
            <p:nvPr/>
          </p:nvSpPr>
          <p:spPr bwMode="auto">
            <a:xfrm>
              <a:off x="0" y="1008"/>
              <a:ext cx="624" cy="496"/>
            </a:xfrm>
            <a:prstGeom prst="rect">
              <a:avLst/>
            </a:prstGeom>
            <a:solidFill>
              <a:srgbClr val="58C3E8"/>
            </a:soli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  <p:sp>
          <p:nvSpPr>
            <p:cNvPr id="59418" name="Rectangle 2"/>
            <p:cNvSpPr>
              <a:spLocks/>
            </p:cNvSpPr>
            <p:nvPr/>
          </p:nvSpPr>
          <p:spPr bwMode="auto">
            <a:xfrm>
              <a:off x="0" y="0"/>
              <a:ext cx="624" cy="984"/>
            </a:xfrm>
            <a:prstGeom prst="rect">
              <a:avLst/>
            </a:prstGeom>
            <a:gradFill rotWithShape="0">
              <a:gsLst>
                <a:gs pos="0">
                  <a:srgbClr val="58C3E8">
                    <a:alpha val="0"/>
                  </a:srgbClr>
                </a:gs>
                <a:gs pos="100000">
                  <a:srgbClr val="58C3E8"/>
                </a:gs>
              </a:gsLst>
              <a:lin ang="5400000" scaled="1"/>
            </a:gra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</p:grpSp>
      <p:grpSp>
        <p:nvGrpSpPr>
          <p:cNvPr id="59400" name="Group 3"/>
          <p:cNvGrpSpPr>
            <a:grpSpLocks/>
          </p:cNvGrpSpPr>
          <p:nvPr/>
        </p:nvGrpSpPr>
        <p:grpSpPr bwMode="auto">
          <a:xfrm>
            <a:off x="2873375" y="3221038"/>
            <a:ext cx="2408238" cy="2127250"/>
            <a:chOff x="0" y="0"/>
            <a:chExt cx="624" cy="1504"/>
          </a:xfrm>
        </p:grpSpPr>
        <p:sp>
          <p:nvSpPr>
            <p:cNvPr id="59415" name="Rectangle 1"/>
            <p:cNvSpPr>
              <a:spLocks/>
            </p:cNvSpPr>
            <p:nvPr/>
          </p:nvSpPr>
          <p:spPr bwMode="auto">
            <a:xfrm>
              <a:off x="0" y="1008"/>
              <a:ext cx="624" cy="496"/>
            </a:xfrm>
            <a:prstGeom prst="rect">
              <a:avLst/>
            </a:prstGeom>
            <a:solidFill>
              <a:srgbClr val="58C3E8"/>
            </a:soli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  <p:sp>
          <p:nvSpPr>
            <p:cNvPr id="59416" name="Rectangle 2"/>
            <p:cNvSpPr>
              <a:spLocks/>
            </p:cNvSpPr>
            <p:nvPr/>
          </p:nvSpPr>
          <p:spPr bwMode="auto">
            <a:xfrm>
              <a:off x="0" y="0"/>
              <a:ext cx="624" cy="984"/>
            </a:xfrm>
            <a:prstGeom prst="rect">
              <a:avLst/>
            </a:prstGeom>
            <a:gradFill rotWithShape="0">
              <a:gsLst>
                <a:gs pos="0">
                  <a:srgbClr val="58C3E8">
                    <a:alpha val="0"/>
                  </a:srgbClr>
                </a:gs>
                <a:gs pos="100000">
                  <a:srgbClr val="58C3E8"/>
                </a:gs>
              </a:gsLst>
              <a:lin ang="5400000" scaled="1"/>
            </a:gradFill>
            <a:ln w="762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pt-BR"/>
            </a:p>
          </p:txBody>
        </p:sp>
      </p:grpSp>
      <p:sp>
        <p:nvSpPr>
          <p:cNvPr id="59401" name="Rectangle 5"/>
          <p:cNvSpPr>
            <a:spLocks/>
          </p:cNvSpPr>
          <p:nvPr/>
        </p:nvSpPr>
        <p:spPr bwMode="auto">
          <a:xfrm>
            <a:off x="1824038" y="4967288"/>
            <a:ext cx="5462587" cy="701675"/>
          </a:xfrm>
          <a:prstGeom prst="rect">
            <a:avLst/>
          </a:prstGeom>
          <a:gradFill rotWithShape="0">
            <a:gsLst>
              <a:gs pos="0">
                <a:srgbClr val="1F497C"/>
              </a:gs>
              <a:gs pos="100000">
                <a:srgbClr val="040B10"/>
              </a:gs>
            </a:gsLst>
            <a:lin ang="5400000" scaled="1"/>
          </a:gradFill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pt-BR"/>
          </a:p>
        </p:txBody>
      </p:sp>
      <p:sp>
        <p:nvSpPr>
          <p:cNvPr id="81930" name="Rectangle 6"/>
          <p:cNvSpPr>
            <a:spLocks/>
          </p:cNvSpPr>
          <p:nvPr/>
        </p:nvSpPr>
        <p:spPr bwMode="auto">
          <a:xfrm rot="-2045243">
            <a:off x="3344863" y="2347913"/>
            <a:ext cx="2663825" cy="5699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</p:spPr>
        <p:txBody>
          <a:bodyPr lIns="0" tIns="0" rIns="0" bIns="0"/>
          <a:lstStyle/>
          <a:p>
            <a:pPr>
              <a:lnSpc>
                <a:spcPct val="90000"/>
              </a:lnSpc>
              <a:defRPr/>
            </a:pPr>
            <a:r>
              <a:rPr lang="en-US" sz="2000" b="1">
                <a:solidFill>
                  <a:srgbClr val="000036"/>
                </a:solidFill>
                <a:latin typeface="Helvetica" pitchFamily="34" charset="0"/>
                <a:sym typeface="Helvetica Neue"/>
              </a:rPr>
              <a:t>TCU e Audiências </a:t>
            </a:r>
          </a:p>
          <a:p>
            <a:pPr>
              <a:lnSpc>
                <a:spcPct val="90000"/>
              </a:lnSpc>
              <a:defRPr/>
            </a:pPr>
            <a:r>
              <a:rPr lang="en-US" sz="2000" b="1">
                <a:solidFill>
                  <a:srgbClr val="000036"/>
                </a:solidFill>
                <a:latin typeface="Helvetica" pitchFamily="34" charset="0"/>
                <a:sym typeface="Helvetica Neue"/>
              </a:rPr>
              <a:t>Públicas</a:t>
            </a:r>
          </a:p>
        </p:txBody>
      </p:sp>
      <p:sp>
        <p:nvSpPr>
          <p:cNvPr id="59403" name="Line 19"/>
          <p:cNvSpPr>
            <a:spLocks noChangeShapeType="1"/>
          </p:cNvSpPr>
          <p:nvPr/>
        </p:nvSpPr>
        <p:spPr bwMode="auto">
          <a:xfrm rot="10800000" flipH="1" flipV="1">
            <a:off x="900113" y="4632325"/>
            <a:ext cx="7272337" cy="14288"/>
          </a:xfrm>
          <a:prstGeom prst="line">
            <a:avLst/>
          </a:prstGeom>
          <a:noFill/>
          <a:ln w="12700">
            <a:solidFill>
              <a:srgbClr val="676767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pt-BR"/>
          </a:p>
        </p:txBody>
      </p:sp>
      <p:sp>
        <p:nvSpPr>
          <p:cNvPr id="59404" name="Rectangle 17"/>
          <p:cNvSpPr>
            <a:spLocks/>
          </p:cNvSpPr>
          <p:nvPr/>
        </p:nvSpPr>
        <p:spPr bwMode="auto">
          <a:xfrm>
            <a:off x="4129088" y="5003800"/>
            <a:ext cx="3382962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500" b="1">
                <a:solidFill>
                  <a:srgbClr val="FFFFFF"/>
                </a:solidFill>
                <a:latin typeface="Helvetica Neue"/>
                <a:sym typeface="Helvetica Neue"/>
              </a:rPr>
              <a:t>2013</a:t>
            </a:r>
          </a:p>
        </p:txBody>
      </p:sp>
      <p:sp>
        <p:nvSpPr>
          <p:cNvPr id="59405" name="Rectangle 7"/>
          <p:cNvSpPr>
            <a:spLocks/>
          </p:cNvSpPr>
          <p:nvPr/>
        </p:nvSpPr>
        <p:spPr bwMode="auto">
          <a:xfrm>
            <a:off x="2081213" y="4518025"/>
            <a:ext cx="893762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br</a:t>
            </a:r>
          </a:p>
        </p:txBody>
      </p:sp>
      <p:sp>
        <p:nvSpPr>
          <p:cNvPr id="59406" name="Rectangle 8"/>
          <p:cNvSpPr>
            <a:spLocks/>
          </p:cNvSpPr>
          <p:nvPr/>
        </p:nvSpPr>
        <p:spPr bwMode="auto">
          <a:xfrm>
            <a:off x="3089275" y="4518025"/>
            <a:ext cx="893763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ai</a:t>
            </a:r>
          </a:p>
        </p:txBody>
      </p:sp>
      <p:sp>
        <p:nvSpPr>
          <p:cNvPr id="59407" name="Rectangle 9"/>
          <p:cNvSpPr>
            <a:spLocks/>
          </p:cNvSpPr>
          <p:nvPr/>
        </p:nvSpPr>
        <p:spPr bwMode="auto">
          <a:xfrm>
            <a:off x="3963988" y="4518025"/>
            <a:ext cx="893762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jun</a:t>
            </a:r>
          </a:p>
        </p:txBody>
      </p:sp>
      <p:sp>
        <p:nvSpPr>
          <p:cNvPr id="59408" name="Rectangle 10"/>
          <p:cNvSpPr>
            <a:spLocks/>
          </p:cNvSpPr>
          <p:nvPr/>
        </p:nvSpPr>
        <p:spPr bwMode="auto">
          <a:xfrm>
            <a:off x="4787900" y="4518025"/>
            <a:ext cx="893763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jul</a:t>
            </a:r>
          </a:p>
        </p:txBody>
      </p:sp>
      <p:sp>
        <p:nvSpPr>
          <p:cNvPr id="59409" name="Rectangle 11"/>
          <p:cNvSpPr>
            <a:spLocks/>
          </p:cNvSpPr>
          <p:nvPr/>
        </p:nvSpPr>
        <p:spPr bwMode="auto">
          <a:xfrm>
            <a:off x="5449888" y="4518025"/>
            <a:ext cx="893762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go/set</a:t>
            </a:r>
          </a:p>
        </p:txBody>
      </p:sp>
      <p:sp>
        <p:nvSpPr>
          <p:cNvPr id="59410" name="Rectangle 12"/>
          <p:cNvSpPr>
            <a:spLocks/>
          </p:cNvSpPr>
          <p:nvPr/>
        </p:nvSpPr>
        <p:spPr bwMode="auto">
          <a:xfrm>
            <a:off x="6488113" y="4518025"/>
            <a:ext cx="893762" cy="542925"/>
          </a:xfrm>
          <a:prstGeom prst="rect">
            <a:avLst/>
          </a:prstGeom>
          <a:noFill/>
          <a:ln w="2540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b="1">
                <a:solidFill>
                  <a:srgbClr val="163A67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et/out</a:t>
            </a:r>
          </a:p>
        </p:txBody>
      </p:sp>
      <p:sp>
        <p:nvSpPr>
          <p:cNvPr id="81939" name="Rectangle 6"/>
          <p:cNvSpPr>
            <a:spLocks/>
          </p:cNvSpPr>
          <p:nvPr/>
        </p:nvSpPr>
        <p:spPr bwMode="auto">
          <a:xfrm rot="-2173125">
            <a:off x="2051050" y="2716213"/>
            <a:ext cx="1439863" cy="431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</p:spPr>
        <p:txBody>
          <a:bodyPr lIns="0" tIns="0" rIns="0" bIns="0"/>
          <a:lstStyle/>
          <a:p>
            <a:pPr>
              <a:lnSpc>
                <a:spcPct val="90000"/>
              </a:lnSpc>
              <a:defRPr/>
            </a:pPr>
            <a:r>
              <a:rPr lang="en-US" sz="2000" b="1">
                <a:solidFill>
                  <a:srgbClr val="000036"/>
                </a:solidFill>
                <a:latin typeface="Helvetica" pitchFamily="34" charset="0"/>
                <a:sym typeface="Helvetica Neue"/>
              </a:rPr>
              <a:t>Estudos</a:t>
            </a:r>
          </a:p>
        </p:txBody>
      </p:sp>
      <p:sp>
        <p:nvSpPr>
          <p:cNvPr id="81940" name="Rectangle 6"/>
          <p:cNvSpPr>
            <a:spLocks/>
          </p:cNvSpPr>
          <p:nvPr/>
        </p:nvSpPr>
        <p:spPr bwMode="auto">
          <a:xfrm rot="-2168046">
            <a:off x="5286375" y="2441575"/>
            <a:ext cx="2871788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</p:spPr>
        <p:txBody>
          <a:bodyPr lIns="0" tIns="0" rIns="0" bIns="0"/>
          <a:lstStyle/>
          <a:p>
            <a:pPr>
              <a:lnSpc>
                <a:spcPct val="90000"/>
              </a:lnSpc>
              <a:defRPr/>
            </a:pPr>
            <a:r>
              <a:rPr lang="en-US" sz="2000" b="1">
                <a:solidFill>
                  <a:srgbClr val="000036"/>
                </a:solidFill>
                <a:latin typeface="Helvetica" pitchFamily="34" charset="0"/>
                <a:sym typeface="Helvetica Neue"/>
              </a:rPr>
              <a:t>Publicação do Edital</a:t>
            </a:r>
          </a:p>
        </p:txBody>
      </p:sp>
      <p:sp>
        <p:nvSpPr>
          <p:cNvPr id="81941" name="Rectangle 6"/>
          <p:cNvSpPr>
            <a:spLocks/>
          </p:cNvSpPr>
          <p:nvPr/>
        </p:nvSpPr>
        <p:spPr bwMode="auto">
          <a:xfrm rot="-2262233">
            <a:off x="6654800" y="2863850"/>
            <a:ext cx="1100138" cy="5222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</p:spPr>
        <p:txBody>
          <a:bodyPr lIns="0" tIns="0" rIns="0" bIns="0"/>
          <a:lstStyle/>
          <a:p>
            <a:pPr>
              <a:lnSpc>
                <a:spcPct val="90000"/>
              </a:lnSpc>
              <a:defRPr/>
            </a:pPr>
            <a:r>
              <a:rPr lang="en-US" sz="2000" b="1">
                <a:solidFill>
                  <a:srgbClr val="000036"/>
                </a:solidFill>
                <a:latin typeface="Helvetica" pitchFamily="34" charset="0"/>
                <a:sym typeface="Helvetica Neue"/>
              </a:rPr>
              <a:t>Leilão</a:t>
            </a:r>
          </a:p>
        </p:txBody>
      </p:sp>
      <p:sp>
        <p:nvSpPr>
          <p:cNvPr id="59414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FB61195-08BC-45CC-AB68-528FFE865B59}" type="slidenum">
              <a:rPr lang="en-US" smtClean="0">
                <a:ea typeface="MS PGothic" pitchFamily="34" charset="-128"/>
              </a:rPr>
              <a:pPr/>
              <a:t>16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ubtitle 2"/>
          <p:cNvSpPr>
            <a:spLocks noGrp="1"/>
          </p:cNvSpPr>
          <p:nvPr>
            <p:ph type="subTitle" idx="1"/>
          </p:nvPr>
        </p:nvSpPr>
        <p:spPr>
          <a:xfrm>
            <a:off x="685800" y="2800350"/>
            <a:ext cx="8054975" cy="2566988"/>
          </a:xfrm>
        </p:spPr>
        <p:txBody>
          <a:bodyPr/>
          <a:lstStyle/>
          <a:p>
            <a:r>
              <a:rPr lang="pt-BR" sz="3400" b="1" dirty="0" smtClean="0">
                <a:solidFill>
                  <a:schemeClr val="tx1"/>
                </a:solidFill>
              </a:rPr>
              <a:t>Concessões Aeroportuárias</a:t>
            </a:r>
          </a:p>
          <a:p>
            <a:endParaRPr lang="en-US" dirty="0" smtClean="0">
              <a:solidFill>
                <a:srgbClr val="898989"/>
              </a:solidFill>
            </a:endParaRPr>
          </a:p>
          <a:p>
            <a:endParaRPr lang="en-US" sz="1800" dirty="0" smtClean="0">
              <a:solidFill>
                <a:srgbClr val="898989"/>
              </a:solidFill>
            </a:endParaRPr>
          </a:p>
          <a:p>
            <a:r>
              <a:rPr lang="en-US" sz="2200" b="1" dirty="0" smtClean="0">
                <a:solidFill>
                  <a:srgbClr val="898989"/>
                </a:solidFill>
              </a:rPr>
              <a:t>Marcelo Guaranys</a:t>
            </a:r>
          </a:p>
          <a:p>
            <a:r>
              <a:rPr lang="en-US" sz="1800" dirty="0" err="1" smtClean="0">
                <a:solidFill>
                  <a:srgbClr val="898989"/>
                </a:solidFill>
              </a:rPr>
              <a:t>Diretor</a:t>
            </a:r>
            <a:r>
              <a:rPr lang="en-US" sz="1800" dirty="0" smtClean="0">
                <a:solidFill>
                  <a:srgbClr val="898989"/>
                </a:solidFill>
              </a:rPr>
              <a:t>-Presidente</a:t>
            </a:r>
          </a:p>
        </p:txBody>
      </p:sp>
      <p:sp>
        <p:nvSpPr>
          <p:cNvPr id="62467" name="CaixaDeTexto 3"/>
          <p:cNvSpPr txBox="1">
            <a:spLocks noChangeArrowheads="1"/>
          </p:cNvSpPr>
          <p:nvPr/>
        </p:nvSpPr>
        <p:spPr bwMode="auto">
          <a:xfrm>
            <a:off x="5359400" y="6165850"/>
            <a:ext cx="37798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b="1">
                <a:solidFill>
                  <a:srgbClr val="FFFFFF"/>
                </a:solidFill>
              </a:rPr>
              <a:t>Brasília-DF, 10 de julho de 2013</a:t>
            </a:r>
          </a:p>
        </p:txBody>
      </p:sp>
      <p:sp>
        <p:nvSpPr>
          <p:cNvPr id="62468" name="Título 1"/>
          <p:cNvSpPr txBox="1">
            <a:spLocks/>
          </p:cNvSpPr>
          <p:nvPr/>
        </p:nvSpPr>
        <p:spPr bwMode="auto">
          <a:xfrm>
            <a:off x="250825" y="1198563"/>
            <a:ext cx="8893175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pt-BR" sz="2400">
                <a:solidFill>
                  <a:srgbClr val="1F497D"/>
                </a:solidFill>
                <a:latin typeface="Calibri" pitchFamily="34" charset="0"/>
              </a:rPr>
              <a:t>CÂMARA DOS DEPUTADOS</a:t>
            </a:r>
          </a:p>
          <a:p>
            <a:pPr algn="ctr" eaLnBrk="0" hangingPunct="0"/>
            <a:r>
              <a:rPr lang="pt-BR" sz="2400" b="1">
                <a:solidFill>
                  <a:srgbClr val="1F497D"/>
                </a:solidFill>
                <a:latin typeface="Calibri" pitchFamily="34" charset="0"/>
              </a:rPr>
              <a:t>Comissão de Viação e Transportes</a:t>
            </a:r>
          </a:p>
          <a:p>
            <a:pPr algn="ctr" eaLnBrk="0" hangingPunct="0"/>
            <a:endParaRPr lang="pt-BR" sz="2400">
              <a:solidFill>
                <a:srgbClr val="1F497D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2"/>
          <p:cNvSpPr txBox="1">
            <a:spLocks/>
          </p:cNvSpPr>
          <p:nvPr/>
        </p:nvSpPr>
        <p:spPr bwMode="auto">
          <a:xfrm>
            <a:off x="457200" y="1417638"/>
            <a:ext cx="8229600" cy="454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76250" lvl="2" indent="-342900">
              <a:lnSpc>
                <a:spcPct val="15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  <a:p>
            <a:pPr marL="476250" lvl="2" indent="-342900">
              <a:lnSpc>
                <a:spcPct val="15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  <a:p>
            <a:pPr marL="476250" lvl="2" indent="-342900">
              <a:lnSpc>
                <a:spcPct val="15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  <a:p>
            <a:pPr marL="476250" lvl="2" indent="-342900">
              <a:lnSpc>
                <a:spcPct val="15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  <a:p>
            <a:pPr marL="476250" lvl="2" indent="-342900">
              <a:lnSpc>
                <a:spcPct val="150000"/>
              </a:lnSpc>
              <a:spcBef>
                <a:spcPct val="20000"/>
              </a:spcBef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/>
            </a:pPr>
            <a:endParaRPr lang="pt-BR" sz="1600" dirty="0">
              <a:latin typeface="+mn-lt"/>
              <a:ea typeface="+mn-ea"/>
              <a:sym typeface="Wingdings" pitchFamily="2" charset="2"/>
            </a:endParaRPr>
          </a:p>
        </p:txBody>
      </p:sp>
      <p:graphicFrame>
        <p:nvGraphicFramePr>
          <p:cNvPr id="8" name="Diagrama 7"/>
          <p:cNvGraphicFramePr/>
          <p:nvPr/>
        </p:nvGraphicFramePr>
        <p:xfrm>
          <a:off x="330528" y="1239839"/>
          <a:ext cx="8403772" cy="4994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3012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AC944E4-FD35-478D-BA46-337C641F6E8D}" type="slidenum">
              <a:rPr lang="en-US" smtClean="0">
                <a:ea typeface="MS PGothic" pitchFamily="34" charset="-128"/>
              </a:rPr>
              <a:pPr/>
              <a:t>2</a:t>
            </a:fld>
            <a:endParaRPr lang="en-US" smtClean="0">
              <a:ea typeface="MS PGothic" pitchFamily="34" charset="-128"/>
            </a:endParaRPr>
          </a:p>
        </p:txBody>
      </p:sp>
      <p:sp>
        <p:nvSpPr>
          <p:cNvPr id="43013" name="Title 1"/>
          <p:cNvSpPr txBox="1">
            <a:spLocks/>
          </p:cNvSpPr>
          <p:nvPr/>
        </p:nvSpPr>
        <p:spPr bwMode="auto">
          <a:xfrm>
            <a:off x="450850" y="320675"/>
            <a:ext cx="8229600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r>
              <a:rPr lang="pt-BR" altLang="ko-KR" sz="3200" b="1">
                <a:solidFill>
                  <a:srgbClr val="7F7F7F"/>
                </a:solidFill>
                <a:latin typeface="Calibri" pitchFamily="34" charset="0"/>
                <a:ea typeface="Malgun Gothic" pitchFamily="34" charset="-127"/>
              </a:rPr>
              <a:t>Sumári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097088"/>
            <a:ext cx="8229600" cy="4314825"/>
          </a:xfrm>
        </p:spPr>
        <p:txBody>
          <a:bodyPr/>
          <a:lstStyle/>
          <a:p>
            <a:pPr marL="476250" lvl="1" indent="-476250">
              <a:lnSpc>
                <a:spcPct val="130000"/>
              </a:lnSpc>
              <a:spcBef>
                <a:spcPts val="1800"/>
              </a:spcBef>
              <a:buClr>
                <a:schemeClr val="accent1"/>
              </a:buClr>
              <a:buSzPct val="85000"/>
              <a:buFont typeface="Arial" pitchFamily="34" charset="0"/>
              <a:buNone/>
            </a:pPr>
            <a:r>
              <a:rPr lang="pt-BR" sz="2400" b="1" smtClean="0">
                <a:solidFill>
                  <a:srgbClr val="376092"/>
                </a:solidFill>
              </a:rPr>
              <a:t>Melhorar os níveis de serviço e Expandir a infraestrutura </a:t>
            </a:r>
          </a:p>
          <a:p>
            <a:pPr marL="725488" lvl="3" indent="-268288">
              <a:buSzPct val="85000"/>
              <a:buFont typeface="Wingdings" pitchFamily="2" charset="2"/>
              <a:buChar char="§"/>
            </a:pPr>
            <a:r>
              <a:rPr lang="pt-BR" smtClean="0">
                <a:solidFill>
                  <a:srgbClr val="376092"/>
                </a:solidFill>
              </a:rPr>
              <a:t>Atingir níveis adequados de serviço</a:t>
            </a:r>
          </a:p>
          <a:p>
            <a:pPr marL="725488" lvl="3" indent="-268288">
              <a:buSzPct val="85000"/>
              <a:buFont typeface="Wingdings" pitchFamily="2" charset="2"/>
              <a:buChar char="§"/>
            </a:pPr>
            <a:r>
              <a:rPr lang="pt-BR" smtClean="0">
                <a:solidFill>
                  <a:srgbClr val="376092"/>
                </a:solidFill>
              </a:rPr>
              <a:t>Atender ao crescimento da demanda</a:t>
            </a:r>
          </a:p>
          <a:p>
            <a:pPr marL="476250" lvl="1" indent="-476250">
              <a:lnSpc>
                <a:spcPct val="130000"/>
              </a:lnSpc>
              <a:spcBef>
                <a:spcPts val="4200"/>
              </a:spcBef>
              <a:buClr>
                <a:schemeClr val="accent1"/>
              </a:buClr>
              <a:buSzPct val="85000"/>
              <a:buFont typeface="Arial" pitchFamily="34" charset="0"/>
              <a:buNone/>
            </a:pPr>
            <a:r>
              <a:rPr lang="pt-BR" sz="2400" b="1" smtClean="0">
                <a:solidFill>
                  <a:srgbClr val="376092"/>
                </a:solidFill>
              </a:rPr>
              <a:t>Introduzir competição no sistema aeroportuário do Brasil</a:t>
            </a:r>
          </a:p>
          <a:p>
            <a:pPr marL="476250" lvl="1" indent="-476250">
              <a:lnSpc>
                <a:spcPct val="130000"/>
              </a:lnSpc>
              <a:spcBef>
                <a:spcPts val="4200"/>
              </a:spcBef>
              <a:buClr>
                <a:schemeClr val="accent1"/>
              </a:buClr>
              <a:buSzPct val="85000"/>
              <a:buFont typeface="Arial" pitchFamily="34" charset="0"/>
              <a:buNone/>
            </a:pPr>
            <a:r>
              <a:rPr lang="pt-BR" sz="2400" b="1" smtClean="0">
                <a:solidFill>
                  <a:srgbClr val="376092"/>
                </a:solidFill>
              </a:rPr>
              <a:t>Difundir melhores práticas de gestão aeroportuária</a:t>
            </a:r>
          </a:p>
          <a:p>
            <a:pPr marL="725488" lvl="3" indent="-268288">
              <a:buClr>
                <a:schemeClr val="accent1"/>
              </a:buClr>
              <a:buSzPct val="85000"/>
              <a:buFont typeface="Wingdings" pitchFamily="2" charset="2"/>
              <a:buChar char="§"/>
            </a:pPr>
            <a:r>
              <a:rPr lang="pt-BR" smtClean="0">
                <a:solidFill>
                  <a:srgbClr val="376092"/>
                </a:solidFill>
              </a:rPr>
              <a:t>Participação da Infraero nos aeroportos concedidos – absorção de melhores prática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Objetivos das Concessõe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4037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263CB35-5555-42C7-B9D6-48A50BF85BB8}" type="slidenum">
              <a:rPr lang="en-US" smtClean="0">
                <a:ea typeface="MS PGothic" pitchFamily="34" charset="-128"/>
              </a:rPr>
              <a:pPr/>
              <a:t>3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CaixaDeTexto 6"/>
          <p:cNvSpPr txBox="1">
            <a:spLocks noChangeArrowheads="1"/>
          </p:cNvSpPr>
          <p:nvPr/>
        </p:nvSpPr>
        <p:spPr bwMode="auto">
          <a:xfrm>
            <a:off x="4254500" y="1516063"/>
            <a:ext cx="4794250" cy="293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endParaRPr lang="en-US" sz="1600" b="1" u="sng"/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Consórcio vencedor</a:t>
            </a:r>
            <a:r>
              <a:rPr lang="en-US" sz="1600">
                <a:solidFill>
                  <a:schemeClr val="tx2"/>
                </a:solidFill>
              </a:rPr>
              <a:t>: Invepar (Inverpar + ACSA)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m 2011</a:t>
            </a:r>
            <a:r>
              <a:rPr lang="en-US" sz="1600">
                <a:solidFill>
                  <a:schemeClr val="tx2"/>
                </a:solidFill>
              </a:rPr>
              <a:t>: 29,9 milhões pax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stimado em 2032</a:t>
            </a:r>
            <a:r>
              <a:rPr lang="en-US" sz="1600">
                <a:solidFill>
                  <a:schemeClr val="tx2"/>
                </a:solidFill>
              </a:rPr>
              <a:t>: 53 milhões pax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Duração:</a:t>
            </a:r>
            <a:r>
              <a:rPr lang="en-US" sz="1600">
                <a:solidFill>
                  <a:schemeClr val="tx2"/>
                </a:solidFill>
              </a:rPr>
              <a:t> 20 anos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Investimentos estimados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R$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>
                <a:solidFill>
                  <a:schemeClr val="tx2"/>
                </a:solidFill>
              </a:rPr>
              <a:t>4,6 bi  </a:t>
            </a:r>
            <a:r>
              <a:rPr lang="en-US" sz="1200">
                <a:solidFill>
                  <a:srgbClr val="1F497D"/>
                </a:solidFill>
              </a:rPr>
              <a:t>(EVTEA)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90513" y="1404938"/>
            <a:ext cx="8362950" cy="5429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pt-BR" altLang="ko-KR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Resultados do Leilão: Guarulhos</a:t>
            </a:r>
          </a:p>
        </p:txBody>
      </p:sp>
      <p:sp>
        <p:nvSpPr>
          <p:cNvPr id="45060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17B891E-A4EE-4F6D-95C0-64953085D2C9}" type="slidenum">
              <a:rPr lang="en-US" smtClean="0">
                <a:ea typeface="MS PGothic" pitchFamily="34" charset="-128"/>
              </a:rPr>
              <a:pPr/>
              <a:t>4</a:t>
            </a:fld>
            <a:endParaRPr lang="en-US" smtClean="0">
              <a:ea typeface="MS PGothic" pitchFamily="34" charset="-128"/>
            </a:endParaRPr>
          </a:p>
        </p:txBody>
      </p:sp>
      <p:pic>
        <p:nvPicPr>
          <p:cNvPr id="45061" name="Imagem 6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0975" y="2125663"/>
            <a:ext cx="4073525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cessões Atuai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063" name="CaixaDeTexto 6"/>
          <p:cNvSpPr txBox="1">
            <a:spLocks noChangeArrowheads="1"/>
          </p:cNvSpPr>
          <p:nvPr/>
        </p:nvSpPr>
        <p:spPr bwMode="auto">
          <a:xfrm>
            <a:off x="0" y="4405313"/>
            <a:ext cx="9048750" cy="209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 Investimentos obrigatórios COPA</a:t>
            </a:r>
            <a:r>
              <a:rPr lang="en-US" sz="1600">
                <a:solidFill>
                  <a:schemeClr val="tx2"/>
                </a:solidFill>
              </a:rPr>
              <a:t>: 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Terminal de passageiros: 1.800 passageiros internacionais em hora pico durante o embarque e 2.200 durante o desembarque.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Estacionamento de veículos.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Área de pátio para aeronaves: 32 aeronaves Código C, com 20 pontes de embarque. 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Implantação de Área de Segurança de Fim de Pista (RESA) na Cabeceira 09L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CaixaDeTexto 6"/>
          <p:cNvSpPr txBox="1">
            <a:spLocks noChangeArrowheads="1"/>
          </p:cNvSpPr>
          <p:nvPr/>
        </p:nvSpPr>
        <p:spPr bwMode="auto">
          <a:xfrm>
            <a:off x="3995738" y="1622425"/>
            <a:ext cx="5053012" cy="363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endParaRPr lang="en-US" sz="1600" b="1" u="sng"/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Consórcio vencedor:</a:t>
            </a:r>
            <a:r>
              <a:rPr lang="en-US" sz="1600">
                <a:solidFill>
                  <a:schemeClr val="tx2"/>
                </a:solidFill>
              </a:rPr>
              <a:t> Aeroportos Brasil Viracopos (Triunfo + UTC + Egis)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m 2011 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7,5 milhões pax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stimado em 2042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89 milhões pax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Duração</a:t>
            </a:r>
            <a:r>
              <a:rPr lang="en-US" sz="1600">
                <a:solidFill>
                  <a:schemeClr val="tx2"/>
                </a:solidFill>
              </a:rPr>
              <a:t>: 30 anos</a:t>
            </a:r>
          </a:p>
          <a:p>
            <a:pPr marL="342900" indent="-342900"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Investimentos estimados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R$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>
                <a:solidFill>
                  <a:schemeClr val="tx2"/>
                </a:solidFill>
              </a:rPr>
              <a:t>8,7 bi  </a:t>
            </a:r>
            <a:r>
              <a:rPr lang="en-US" sz="1200">
                <a:solidFill>
                  <a:schemeClr val="tx2"/>
                </a:solidFill>
              </a:rPr>
              <a:t>(EVTEA)</a:t>
            </a:r>
            <a:endParaRPr lang="en-US" sz="1200"/>
          </a:p>
          <a:p>
            <a:pPr marL="342900" indent="-3429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endParaRPr lang="en-US" sz="1600"/>
          </a:p>
          <a:p>
            <a:pPr marL="342900" indent="-342900" algn="just"/>
            <a:endParaRPr lang="pt-BR" sz="1600"/>
          </a:p>
        </p:txBody>
      </p:sp>
      <p:pic>
        <p:nvPicPr>
          <p:cNvPr id="46083" name="Picture 6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0825" y="2203450"/>
            <a:ext cx="3590925" cy="209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90513" y="1404938"/>
            <a:ext cx="8362950" cy="5429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pt-BR" altLang="ko-KR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Resultados do Leilão: Viracopos</a:t>
            </a:r>
          </a:p>
        </p:txBody>
      </p:sp>
      <p:sp>
        <p:nvSpPr>
          <p:cNvPr id="46085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6C37232-5103-4067-B38E-1635671F1913}" type="slidenum">
              <a:rPr lang="en-US" smtClean="0">
                <a:ea typeface="MS PGothic" pitchFamily="34" charset="-128"/>
              </a:rPr>
              <a:pPr/>
              <a:t>5</a:t>
            </a:fld>
            <a:endParaRPr lang="en-US" smtClean="0">
              <a:ea typeface="MS PGothi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cessões Atuai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087" name="CaixaDeTexto 8"/>
          <p:cNvSpPr txBox="1">
            <a:spLocks noChangeArrowheads="1"/>
          </p:cNvSpPr>
          <p:nvPr/>
        </p:nvSpPr>
        <p:spPr bwMode="auto">
          <a:xfrm>
            <a:off x="0" y="4498975"/>
            <a:ext cx="9048750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 Investimentos obrigatórios COPA</a:t>
            </a:r>
            <a:r>
              <a:rPr lang="en-US" sz="1600">
                <a:solidFill>
                  <a:schemeClr val="tx2"/>
                </a:solidFill>
              </a:rPr>
              <a:t>: 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Terminal de passageiros: 1.550 passageiros domésticos em Hora Pico durante o embarque e 1.550 no desembarque.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Pátio de Aeronaves: 35 aeronaves Código C, com 28 pontes de embarque. 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Implantação de RESA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CaixaDeTexto 6"/>
          <p:cNvSpPr txBox="1">
            <a:spLocks noChangeArrowheads="1"/>
          </p:cNvSpPr>
          <p:nvPr/>
        </p:nvSpPr>
        <p:spPr bwMode="auto">
          <a:xfrm>
            <a:off x="4241800" y="1449388"/>
            <a:ext cx="4806950" cy="293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endParaRPr lang="en-US" sz="1600" b="1" u="sng"/>
          </a:p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Consórcio vencedor</a:t>
            </a:r>
            <a:r>
              <a:rPr lang="en-US" sz="1600" b="1">
                <a:solidFill>
                  <a:schemeClr val="tx2"/>
                </a:solidFill>
              </a:rPr>
              <a:t>:</a:t>
            </a:r>
            <a:r>
              <a:rPr lang="en-US" sz="1600">
                <a:solidFill>
                  <a:schemeClr val="tx2"/>
                </a:solidFill>
              </a:rPr>
              <a:t> Inframérica (Infravix + Corporación America)</a:t>
            </a:r>
          </a:p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m 2011 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15,3 milhões pax</a:t>
            </a:r>
          </a:p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Tráfego estimado em 2037</a:t>
            </a:r>
            <a:r>
              <a:rPr lang="en-US" sz="1600" b="1">
                <a:solidFill>
                  <a:schemeClr val="tx2"/>
                </a:solidFill>
              </a:rPr>
              <a:t>:</a:t>
            </a:r>
            <a:r>
              <a:rPr lang="en-US" sz="1600">
                <a:solidFill>
                  <a:schemeClr val="tx2"/>
                </a:solidFill>
              </a:rPr>
              <a:t> 50 milhões pax</a:t>
            </a:r>
          </a:p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Duração</a:t>
            </a:r>
            <a:r>
              <a:rPr lang="en-US" sz="1600" b="1">
                <a:solidFill>
                  <a:schemeClr val="tx2"/>
                </a:solidFill>
              </a:rPr>
              <a:t>:</a:t>
            </a:r>
            <a:r>
              <a:rPr lang="en-US" sz="1600">
                <a:solidFill>
                  <a:schemeClr val="tx2"/>
                </a:solidFill>
              </a:rPr>
              <a:t> 25 anos</a:t>
            </a:r>
          </a:p>
          <a:p>
            <a:pPr marL="274638" indent="-165100">
              <a:lnSpc>
                <a:spcPct val="115000"/>
              </a:lnSpc>
              <a:spcBef>
                <a:spcPct val="70000"/>
              </a:spcBef>
              <a:buFontTx/>
              <a:buChar char="•"/>
            </a:pPr>
            <a:r>
              <a:rPr lang="en-US" sz="1600" b="1" u="sng">
                <a:solidFill>
                  <a:schemeClr val="tx2"/>
                </a:solidFill>
              </a:rPr>
              <a:t>Investimento estimado</a:t>
            </a:r>
            <a:r>
              <a:rPr lang="en-US" sz="1600" b="1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chemeClr val="tx2"/>
                </a:solidFill>
              </a:rPr>
              <a:t>R$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>
                <a:solidFill>
                  <a:schemeClr val="tx2"/>
                </a:solidFill>
              </a:rPr>
              <a:t>2,8 bi</a:t>
            </a:r>
            <a:r>
              <a:rPr lang="en-US" sz="1200">
                <a:solidFill>
                  <a:srgbClr val="1F497D"/>
                </a:solidFill>
              </a:rPr>
              <a:t>  (EVTEA)</a:t>
            </a:r>
            <a:r>
              <a:rPr lang="en-US" sz="1600">
                <a:solidFill>
                  <a:schemeClr val="tx2"/>
                </a:solidFill>
              </a:rPr>
              <a:t> </a:t>
            </a:r>
            <a:endParaRPr lang="en-US" sz="1600"/>
          </a:p>
        </p:txBody>
      </p:sp>
      <p:pic>
        <p:nvPicPr>
          <p:cNvPr id="47107" name="Picture 2"/>
          <p:cNvPicPr>
            <a:picLocks noChangeAspect="1" noChangeArrowheads="1"/>
          </p:cNvPicPr>
          <p:nvPr/>
        </p:nvPicPr>
        <p:blipFill>
          <a:blip r:embed="rId3"/>
          <a:srcRect l="65282" t="38284" r="14427" b="21100"/>
          <a:stretch>
            <a:fillRect/>
          </a:stretch>
        </p:blipFill>
        <p:spPr bwMode="auto">
          <a:xfrm rot="5400000">
            <a:off x="927894" y="1334294"/>
            <a:ext cx="2233612" cy="37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8" name="Title 1"/>
          <p:cNvSpPr txBox="1">
            <a:spLocks/>
          </p:cNvSpPr>
          <p:nvPr/>
        </p:nvSpPr>
        <p:spPr bwMode="auto">
          <a:xfrm>
            <a:off x="290513" y="1404938"/>
            <a:ext cx="83629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pt-BR" altLang="ko-KR" sz="2800" b="1">
                <a:solidFill>
                  <a:srgbClr val="376092"/>
                </a:solidFill>
                <a:latin typeface="Calibri" pitchFamily="34" charset="0"/>
                <a:ea typeface="Malgun Gothic" pitchFamily="34" charset="-127"/>
              </a:rPr>
              <a:t>Resultados do Leilão: Brasília</a:t>
            </a:r>
          </a:p>
        </p:txBody>
      </p:sp>
      <p:sp>
        <p:nvSpPr>
          <p:cNvPr id="47109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0915930-8B6B-4AA5-828B-20B2F34FDAEF}" type="slidenum">
              <a:rPr lang="en-US" smtClean="0">
                <a:ea typeface="MS PGothic" pitchFamily="34" charset="-128"/>
              </a:rPr>
              <a:pPr/>
              <a:t>6</a:t>
            </a:fld>
            <a:endParaRPr lang="en-US" smtClean="0">
              <a:ea typeface="MS PGothi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cessões Atuai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111" name="Retângulo 7"/>
          <p:cNvSpPr>
            <a:spLocks noChangeArrowheads="1"/>
          </p:cNvSpPr>
          <p:nvPr/>
        </p:nvSpPr>
        <p:spPr bwMode="auto">
          <a:xfrm>
            <a:off x="198438" y="4635500"/>
            <a:ext cx="8758237" cy="173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b="1" u="sng">
                <a:solidFill>
                  <a:schemeClr val="tx2"/>
                </a:solidFill>
              </a:rPr>
              <a:t> Investimentos obrigatórios COPA</a:t>
            </a:r>
            <a:r>
              <a:rPr lang="en-US">
                <a:solidFill>
                  <a:schemeClr val="tx2"/>
                </a:solidFill>
              </a:rPr>
              <a:t>:</a:t>
            </a:r>
            <a:endParaRPr lang="pt-BR"/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Terminal de passageiros: 1.000 passageiros domésticos em Hora Pico durante o embarque e 1.200 no desembarque.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Pátio de aeronaves: 24 aeronaves Código C, com 15 pontes de embarque </a:t>
            </a:r>
          </a:p>
          <a:p>
            <a:pPr lvl="1" algn="just">
              <a:lnSpc>
                <a:spcPct val="115000"/>
              </a:lnSpc>
              <a:spcBef>
                <a:spcPts val="600"/>
              </a:spcBef>
              <a:buFontTx/>
              <a:buChar char="•"/>
            </a:pPr>
            <a:r>
              <a:rPr lang="pt-BR" sz="1600">
                <a:solidFill>
                  <a:schemeClr val="tx2"/>
                </a:solidFill>
              </a:rPr>
              <a:t> Implantação de RESA nas quatro cabeceiras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Espaço Reservado para Conteúdo 5"/>
          <p:cNvGraphicFramePr>
            <a:graphicFrameLocks noGrp="1"/>
          </p:cNvGraphicFramePr>
          <p:nvPr>
            <p:ph idx="1"/>
          </p:nvPr>
        </p:nvGraphicFramePr>
        <p:xfrm>
          <a:off x="323528" y="2060848"/>
          <a:ext cx="8458200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/>
        </p:nvGraphicFramePr>
        <p:xfrm>
          <a:off x="467544" y="1196752"/>
          <a:ext cx="8352928" cy="923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vas Concessõe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133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3C3CEA8-89BF-4C1F-A811-58D340882306}" type="slidenum">
              <a:rPr lang="en-US" smtClean="0">
                <a:ea typeface="MS PGothic" pitchFamily="34" charset="-128"/>
              </a:rPr>
              <a:pPr/>
              <a:t>7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5"/>
          <p:cNvSpPr txBox="1">
            <a:spLocks noChangeArrowheads="1"/>
          </p:cNvSpPr>
          <p:nvPr/>
        </p:nvSpPr>
        <p:spPr bwMode="auto">
          <a:xfrm>
            <a:off x="4643438" y="2470150"/>
            <a:ext cx="38735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pt-BR">
              <a:latin typeface="Georgia" pitchFamily="18" charset="0"/>
            </a:endParaRPr>
          </a:p>
        </p:txBody>
      </p:sp>
      <p:sp>
        <p:nvSpPr>
          <p:cNvPr id="49155" name="AutoShape 2" descr="data:image/jpeg;base64,/9j/4AAQSkZJRgABAQAAAQABAAD/2wCEAAkGBhQQEA8UEBQUEBIUFRUUDxAUFBAUFBIVFRAVFxQQFBQXGyYeFxkjGRUUHy8gIycpLCwsFR4xNTAqNSYsLCkBCQoKDgwOFw8PGCklHyQsKSwpKiwpLCwpLCwpLCkpKSksKSwpKSksLCkpLCkpKSkpKSwsLCksKSwuKSksKSwsKf/AABEIAOEA4QMBIgACEQEDEQH/xAAcAAEAAgIDAQAAAAAAAAAAAAAAAQcFBgIECAP/xABHEAACAQMABgQICgkCBwAAAAAAAQIDBBEFBgcSITFBUWGREyIyUnGBocEUFiNCVJKx0eHwM1NicoKissLxF3M0Q4OTs9LT/8QAGwEBAAIDAQEAAAAAAAAAAAAAAAEEAgMFBgf/xAArEQEAAgIBAwIFBAMBAAAAAAAAAQIDEQQSITFBUQUTFCIyIzNSYQYWkRX/2gAMAwEAAhEDEQA/ALxAAAAAAAAAAAAAAAAAAAAAAAAAAAAAAAAAAAAAAAAAAAAAAAAAAAAAAAAAAAEZGQJBGRkCQQMgSCCQAAAAAAAAAAAAAAAAAAAAAACGyN4DkccHUvtK06EXKrNQj1trj6Osr/T21xJuNpDef6yakl6o8GYzaIaMmemPzKyKlVRTbaS6zX9J6/WlDO9VU2ucYYm/WugqC90xd3r8aVSqvNgm0uxJcT6WepV5W8ijJdW/iH9WDCbz6Qo25t7ft1bpf7YYrKo0XJdEpPH8uPeYS42s3b8hU4Ltg3/cjrU9l98+cIr/AKlN/ZImpsuvV5MIy/jpr7ZET1q9r8q3pP8Ax8qm0q9fz4r0Rkv7jjDaRe/rF3P7zr3uol5S4zot/uOM33RbMLcWc6bxUhKm+qUXF+1GG7K1r56+dtwt9rN3FrfVKS6lFp9+8Z/R+2Cm2lXpSprplF73r3cLgVWgn1DrmE15mWvq9DaJ1noXSTo1Iyfm5xLuMnk800a0oNOLcWuOUb/qptPnTcad2/CRfCNXD3l+9zWMeg2Rk26ODn1tOr9ltIk69pdxqQjKElKL5Ncj7pm104naQAEgAAAAAAAAAAAAAQMnXvL2FKLlUkoxXNsImdd31nUSWXw7WaTrPtHhRcqdsvD1eTay4x+/1HUvL660rJwtt63tc4nWeVKeOeMceb5dhsWgNSLezS3IKU1zqSScs9afQR58K1rXydqdo92g0NT7/SUlUupunB8t5rl+zBNpetG36I2X2tFLfTrS65PHsXA2+Mf8nIiKwU4tInc95dW20bTp+RCMfRGK+w7SRJGDJZiIjwjAwcgEuDR077Q9KsmqsIzXaln1Pmd8hhjNYnyrjWPZTCSc7R7kuinLyX6Jc/aVnfWE6FSVOrFwlHmn9qZ6Swa3rjqnC+pPgvCxTdKeOOceS+x4NVqbc7k8Kto6qdpUQwfe8tZUpzhNNSi3F57Ok+BpcKe3ZuOoOubtKkadVt0JvHHPybzz9vsLoo1FJJrinyPM2eWPz1YLn2Yaf+EW3g5vM6XDPS4vk/tN2O3o7PA5Ez9lm7ZBBJtdcAAAAAACMgSCMgCSGScJvuA697exowlObxFc37l1s1uOiamkJqpdpwt080rbjmWPn1Pux0LiZpWTrVFOr5Mf0dPo/el1syUY4Ia5r1eXGhRjCKUUopLCSWEl1H0QQbJbDBJwUxKolz4LpYHJsg1PT206xtMqVWNSa+ZTe96t6OUjSb/b7n9Bb47akk0/UkjbXFe3iBceSMlEy283eeFKhjq3an/sd6x2+TT+Wt4yXT4OW6/5smX0+T2TpdJJpWr+1iyu2o7/AIGo+VOfDm8Y3mksm5qafLj3Gm1Zr2lDlg4tE5IZAqTa3oZU6tOvFJKp4ssLHjJc36kV8y5tq9upWW8/myTXr4e8pnJXvGped5uPpyzpOTb9l+kPB30YdFSLTXRw4x+1mn5MtqlVcb60x01acfrVIpkV7S0YJmuSJehkcjhFnIsvUQkENhMJSAAIbKn2161VrWdrC3qSptqo6m70/o93+4tds887aL7wmk5Rz4tOEF/Fjib+PXqv3GCevl99Iqd/4EfH2++kT70YDAOp8uvsybB8fb76RPvIlr7ffSKnoz+BgAPl19hn/j5ffSamerP54k/H2++kT7zXwOivsNg+P199In3ozOp2td7c39pSlXm4zqJT48MYeWzRjaNnekqdrduvWfi0qU5xj0ympRSiu3i+4wyUjpnUD0JrDrNRsaTqXEt3ojFeVJ9UUUTrhtRub5uEJOhQ6IQeHLjznLyulcmYLWnWqtpGtKrWlwT+Tpp8IRfQvvxx9RhjVh48V7z5NJk2288X054+18SAzkoPOEsvq4lvwlxD7fYdqjourPLjTm+vhJe4+FWhKPlRcfTF+8jcDs6Gp71xbJc3Vp45frI59mS3ts+sVe0nZwt6kqacJuW7j5soJfaVjqTQ39IWkel1E+S6E37jb9u1fevqUfMpv+bcfuK14icsQhqfx9vvpE+8fH2++k1O8wBJv6K+wtDZfpavpC8lSuqkq1JQ3pQlxT44XtwWz8TbT9TDuKo2B0M3d1LqopL0uoi8Tl8iI65012x1tO5hhfibafqYdxitadA29tZ3VWnTjCpClUlSmlxjUVOTg1/EkbealtTuNzRd0+tbv1sr3mmsR1QxjFSPRRHx9vvpNTHpHx9vvpE+/wDAwBB2Yx19m7TYFr5ffSKnHmso9N6Mz4KnvPMscW+k8mWFDwlWnDzpKPeeuaPJegpcuIjWkS5gAo7Q4t4TZ5h14VStpC8nuSadWaj4r8lSeD09g4fBIeZH6qN2LJ8ud6S8juxqeZP6rONW1nHG9GSy+DcWvUeuvgkPMj9WP3FR7ea0Y07WlFRi3J1HhJPG7KPR6i5j5M3trSdqcAQaLqUwg20ksvqR9/gFTzJ/VZtuyTRSr6TpbyzGnvTfTxSW6eiVaQ8yH1Y/cVMvI+XOmLyQ7Cp5ku59Z8PyvV2np3XzScLKwuKqhDexuwW6uLk0sd2X6jzFnn+fSZ4cs5O8wkX5+4nP+fzyIMnq3oOV7dUaFPnN+M+jdSzKXcmb5nUbGU1J1DraSqeJ4lBPFSs14uceTHob9ZeWrmzezs4x3KSqTX/MqeNLK6U+gzOhNCwtKNOlRSjGKS4dLxxk+0yKRysue15/pG3GNFLgkuzgdPSWgqNxFxrUoVFj5yXT2mQIwaNzCFbW+yeFrpO2ubV/IxlJ1aUnxjmlNJxfVlrhgr3bNX3tLVV0KnSS9Pg1k9EuJ5l2l19/Sl2/2931xbWPYW+NM2vuUw1clEA6TJcmwGhwu59qjns4MuEq/YLQxZ3D663B9m4i0Dj55/UljIaBtrr7uiprzqlP2SN+yVht4uMWdCPnVHw/dUX7zHFG7wiFFfn2ANg7TNmNT6HhNIWUPOrQXrbPVdNcEeY9mdDf0rZ/s1Iz7ml7z05E5vLn7ohjKcAZBRQkAGQFA7cr7fv6cFyp0kmu1ycvsZfx5j2nXXhNK3kujego9mKFNY78lrix9+0w1YkhEnUZLe2BaP8AGuqrXRGMH2pve+1FyorvYdabmjZSfOdabXo3YYLFONmnd5YSqnb5etW1tSTxmpvvtShUWO9lIZ/D3lxbfo/8I+jiv6/uKdz+fSdDi/tsoC1dg2jVKvdVWs7sVGD6nlZ9jKqLe2BXi3run04jPHpaXuJ5G4xySuZEkRJOSxAABxk+DPKmuFXf0hfN/Sa6Xqrzweqa68WS600u48oazxxe3qfRcV+9V5lziflKYY4fgQDpMnofYtb7ujIS8+Upd0pR9xvxV2xDWCM7WVs3ipSbaj1wbzletss442b852wTkp/b/cZjZQzylUk/XGK9xbdWsoptvCXlPq4ZyzzltQ1qV/eydN5pUluU3z3msty9qNnGrM32mGnkAHVS3rYzb7+lIfs05z+rOn956KRSOwXRjlcXNbohDwcX+/LL/oLuTOVyp3dEpABUQAAyA8m6yV9+7uZPpqS9jx7j1izyLpR5r3H+7U/8ki5xPylMOsQCTpMnpTZPSxoq1/aW93/4NwNT2Xzzoqy7KePabYcTJ+UsFa7dNGOpYU6kV+iqqU3+zuTj/VJFCfn8D1pp7RUbq3rUZ+TUi160017UeVtKaNnbVqlKpwnB7ss8MuOVvLsZe4l9x0ph1DYNR9ZHYXlOr818Ky5Zg8re9T6DAEY/D0ly1eqNJeu7G/jWpwqU2pQmk4tdqOxvHmnUraPX0c91Yq0G8ypSTyutwaa4+ntLa0VtjsKsVvzlRl5k4yb9corBycmC1J/pGm+5GTU7naho+Cy7hPqxCbz3I0vWXbnFJxsqe82n8rUT3fTGOU8+kxrivae0Gm963a5U7JU4ZTrVZ04U6ecPEqkU5PsSb7ik9rWh/g+k6rXk1flIvrk8OftkzoavXlS80nbSrSdWUqibzjHDMsY7MFzbVtUHfWrlTWa1HMoY+dF8ZR9mfUWax8m8RI86j8TlODTaaw08ST6HnkyDoMnZ0dpKpbVI1KMnTnHlJe1Fg2O3O6hBKpTp1WlhSw03jpfHiVoMGu+Ot/MIbXrPtKu7+LhUkqdPzKacU/3uPE1T8/5CBlWla+AJjFvgubax188Efn7y0dkmz+VWrC6uI/JQ40YvhvzzhNrzUt4xyZIpG0rI2a6s/AbGnGSxUn49RdKb47r9GTa8ERRyONa3VO2AACAAAEM8l6xWzp3VzF8/Cyz63vL7UetGVBrfsxhWvK1V1ZQ8I01FRT5QjHr60T9Zj4kTfJ4bMdJvOoU0SvyyzP8ASan+vn9RfeT/AKS0/wBfP6i+81/7Fwv5LH0t/Zvuxu8VTRdJL5kpQa9CT95vRpGzXQkbGlUpKbmnNzWVjDaWensRuxGPkU5EdeOeytes1nUokistrOz13UfhNtH5aC+Uj0zj2dv3ss7BEkb6Xmk7hg8etNNp8JLhh8Mfssgv3XrZLTvHKrbYpVnzj8yf3PtKW05q1cWU924pyp9Un5L49DOrizVuyYsEtYIN3lIGMf4PvaWM60lGnBzk+UY8WyJmI8jZNltDf0tZrozNv1UamD0vjJUWy3ZrcW1eF1cpU8J7tPL3uMZLisdTLeOXyLRa/ZjKqdpOyjw8p3Fkl4V5dSjnCk+e9Ht58M44lL3dpOlJxqRcJLg1JNNtdK6z1/gwmsOp1rfLFxSjJ+esKfo3sZJxcmadpNvK3sBdek9g1JtuhXlTXRCUVLH8TZiVsFrN/p4Y68e4uRycc+qdqq9r6EfS2t5VJbsIuUnyjFN8S59G7BKUWnXrzqLphGKj/Mmb5q9qZa2KXgKSjLz3hz+tzNd+VWPBtWGoWx6U3CvfrcjzjQzxeHwc8cEvQy57e3jCMYwSjGKxFLoPrujBQvktedyjYiQDBAAAAAAiSMHrBbZSkujg/QZxnxuaKnFp8mUudx/qMFqNmK/RaJaWD7XNu4TcX6j4nzLJS2O01tD0FbRaNw+9nceDmpd/oNvo1VKKa6TSTK6I0puPdl5PR2HoPgnxCMNvlX8So8vDNo6obLkM4wnnijme5iYmNw5Ljunyr2sakXGcVKL5xfFP0o+4JGnaQ2UaPrNv4PGk3zdJQh6+T4mL/wBC7Dzrj/uw/wDmWKDOMlo9RpFjse0fSeXTdX/dcJ/2o2nRuhKNtHdt6UKMeqEUkd4ETaZ8yOO6MHIhmIZIlI+de4UFmTSRj41ZV3wzGn0vpZWyZ4rPTXvLOK77u1GpvvEeXzn1+hnaSONKmopJcj6GzHWdbt5YzKEgSDagAAAAAAAAAAAjBIAxmltG+EWV5SNZnBp4fB9RvGDGaS0QqnFcJfaea+LfCfnfqYvPt7r3G5PR9tvDWBk+te2lB4ksdvQfLJ4q+O2O2rQ60Wi0bh37DS8qTw+MTYbbSMKi4P1GnpnKEsPK4dqZ2OH8Zy8eOm3eFXLxK37x5bwmDVKGmKkeneR3aesnnRx6H+B6XF8c4147zpQtxMlfRngYhaxw6U+4PWSHVLuLf/p8bW+tq+Rk9mXGTBVNZF82Pe8e46lbTlSXLxexZbK+T41xq/jO5Zxxck+jZKldR5vBi7rTy5U05P2GOpWNWs/GzjrbfsM1ZaJjT6N5+c+ZrryOVy51jr01958sppjx+Z3Lp22jp1XvVuXmdBmadNJJLkcsBHU4/Grij3n3V73mycAAtMAAAAAAAAAAAAAAAAAhokAfCvaxmsSWTEXWr3TB47DPDBS5HAw8j86tlMtqeJafW0ZUjzi36Fk6zg1zTXpN43T5yoRfNLuOFl/x2k96WXK820eYaUQbk7GD+au4lWcF81dxW/1y/wDJs+uj2abGDfJN+g7NPR1SXKLXp4G2RoJckl6jnulnH/jtI/OzXPOt6Q1631dk/LeOz8TKWuiIU+jL62d7BODr8f4Xx8Pete6tfPe3mXBRxyOROAdKI12hoAASAAAAAAAAAAAAAAAAAAAAAAAABBIAgEgCCQ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>
              <a:latin typeface="Georgia" pitchFamily="18" charset="0"/>
            </a:endParaRPr>
          </a:p>
        </p:txBody>
      </p:sp>
      <p:graphicFrame>
        <p:nvGraphicFramePr>
          <p:cNvPr id="7" name="Diagrama 6"/>
          <p:cNvGraphicFramePr/>
          <p:nvPr/>
        </p:nvGraphicFramePr>
        <p:xfrm>
          <a:off x="251520" y="2335982"/>
          <a:ext cx="8640960" cy="4333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etângulo 9"/>
          <p:cNvSpPr/>
          <p:nvPr/>
        </p:nvSpPr>
        <p:spPr>
          <a:xfrm>
            <a:off x="3132138" y="2205038"/>
            <a:ext cx="5761037" cy="46085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250825" y="2205038"/>
            <a:ext cx="2808288" cy="46085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468313" y="1763713"/>
            <a:ext cx="2519362" cy="369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pt-BR" sz="1800" smtClean="0">
                <a:solidFill>
                  <a:srgbClr val="FFFFFF"/>
                </a:solidFill>
                <a:latin typeface="Calibri" pitchFamily="34" charset="0"/>
              </a:rPr>
              <a:t>Estudos técnicos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4500563" y="1763713"/>
            <a:ext cx="3167062" cy="369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pt-BR" sz="1800" smtClean="0">
                <a:solidFill>
                  <a:srgbClr val="FFFFFF"/>
                </a:solidFill>
                <a:latin typeface="Calibri" pitchFamily="34" charset="0"/>
              </a:rPr>
              <a:t>Documentos jurídicos</a:t>
            </a:r>
          </a:p>
        </p:txBody>
      </p:sp>
      <p:sp>
        <p:nvSpPr>
          <p:cNvPr id="14" name="Título 1"/>
          <p:cNvSpPr txBox="1">
            <a:spLocks/>
          </p:cNvSpPr>
          <p:nvPr/>
        </p:nvSpPr>
        <p:spPr>
          <a:xfrm>
            <a:off x="-71438" y="696913"/>
            <a:ext cx="9144001" cy="1066800"/>
          </a:xfrm>
          <a:prstGeom prst="rect">
            <a:avLst/>
          </a:prstGeom>
        </p:spPr>
        <p:txBody>
          <a:bodyPr anchor="ctr"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Calibri" charset="0"/>
              </a:rPr>
              <a:t>GALEÃO e CONFINS</a:t>
            </a:r>
            <a:endParaRPr lang="pt-BR" sz="2400" b="1" dirty="0" smtClean="0">
              <a:solidFill>
                <a:schemeClr val="tx2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Calibri" charset="0"/>
            </a:endParaRPr>
          </a:p>
        </p:txBody>
      </p:sp>
      <p:sp>
        <p:nvSpPr>
          <p:cNvPr id="49162" name="Espaço Reservado para Número de Slide 1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B37B1F2-B3DC-4F67-A1EA-08F5974AF703}" type="slidenum">
              <a:rPr lang="en-US" smtClean="0">
                <a:ea typeface="MS PGothic" pitchFamily="34" charset="-128"/>
              </a:rPr>
              <a:pPr/>
              <a:t>8</a:t>
            </a:fld>
            <a:endParaRPr lang="en-US" smtClean="0">
              <a:ea typeface="MS PGothic" pitchFamily="34" charset="-128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2597150" y="263525"/>
            <a:ext cx="63595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pt-BR" altLang="ko-KR" sz="3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vas Concessões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Diagrama 20"/>
          <p:cNvGraphicFramePr/>
          <p:nvPr/>
        </p:nvGraphicFramePr>
        <p:xfrm>
          <a:off x="323528" y="1124744"/>
          <a:ext cx="8615520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8" name="Title 1"/>
          <p:cNvSpPr txBox="1">
            <a:spLocks/>
          </p:cNvSpPr>
          <p:nvPr/>
        </p:nvSpPr>
        <p:spPr>
          <a:xfrm>
            <a:off x="3024188" y="0"/>
            <a:ext cx="6119812" cy="936625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pt-BR" sz="34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Premissas</a:t>
            </a:r>
            <a:endParaRPr lang="en-US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sp>
        <p:nvSpPr>
          <p:cNvPr id="1029" name="Espaço Reservado para Número de Slide 12"/>
          <p:cNvSpPr txBox="1">
            <a:spLocks/>
          </p:cNvSpPr>
          <p:nvPr/>
        </p:nvSpPr>
        <p:spPr bwMode="auto">
          <a:xfrm>
            <a:off x="7600950" y="6480175"/>
            <a:ext cx="10858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919CBB12-6226-4BB1-93B6-D0B314027188}" type="slidenum">
              <a:rPr lang="en-US" sz="1400">
                <a:solidFill>
                  <a:schemeClr val="bg1"/>
                </a:solidFill>
                <a:latin typeface="Calibri" pitchFamily="34" charset="0"/>
              </a:rPr>
              <a:pPr algn="r"/>
              <a:t>9</a:t>
            </a:fld>
            <a:endParaRPr lang="en-US" sz="140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ac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anac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anac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ac2.thmx</Template>
  <TotalTime>4683</TotalTime>
  <Words>983</Words>
  <Application>Microsoft Office PowerPoint</Application>
  <PresentationFormat>Apresentação na tela (4:3)</PresentationFormat>
  <Paragraphs>190</Paragraphs>
  <Slides>17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1" baseType="lpstr">
      <vt:lpstr>anac2</vt:lpstr>
      <vt:lpstr>1_anac1</vt:lpstr>
      <vt:lpstr>2_anac1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Novas concessões - Cronograma</vt:lpstr>
      <vt:lpstr>Apresentação do PowerPoint</vt:lpstr>
    </vt:vector>
  </TitlesOfParts>
  <Company>Escol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sabela Brumana</dc:creator>
  <cp:lastModifiedBy>Rita Rocha Fukuhara de Carvalho</cp:lastModifiedBy>
  <cp:revision>419</cp:revision>
  <cp:lastPrinted>2013-06-25T17:38:05Z</cp:lastPrinted>
  <dcterms:created xsi:type="dcterms:W3CDTF">2011-03-17T17:31:18Z</dcterms:created>
  <dcterms:modified xsi:type="dcterms:W3CDTF">2013-07-10T13:11:35Z</dcterms:modified>
</cp:coreProperties>
</file>